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sldIdLst>
    <p:sldId id="256" r:id="rId5"/>
    <p:sldId id="257" r:id="rId6"/>
    <p:sldId id="2698" r:id="rId7"/>
    <p:sldId id="2699" r:id="rId8"/>
    <p:sldId id="2724" r:id="rId9"/>
    <p:sldId id="2702" r:id="rId10"/>
    <p:sldId id="2725" r:id="rId11"/>
    <p:sldId id="2726" r:id="rId12"/>
    <p:sldId id="2705" r:id="rId13"/>
    <p:sldId id="2706" r:id="rId14"/>
    <p:sldId id="2727" r:id="rId15"/>
    <p:sldId id="2728" r:id="rId16"/>
    <p:sldId id="2729" r:id="rId17"/>
    <p:sldId id="2700" r:id="rId18"/>
    <p:sldId id="2710" r:id="rId19"/>
    <p:sldId id="2711" r:id="rId20"/>
    <p:sldId id="2712" r:id="rId21"/>
    <p:sldId id="2713" r:id="rId22"/>
    <p:sldId id="2714" r:id="rId23"/>
    <p:sldId id="2715" r:id="rId24"/>
    <p:sldId id="2716" r:id="rId25"/>
    <p:sldId id="2717" r:id="rId26"/>
    <p:sldId id="2718" r:id="rId27"/>
    <p:sldId id="2719" r:id="rId28"/>
    <p:sldId id="2720" r:id="rId29"/>
    <p:sldId id="2721" r:id="rId30"/>
    <p:sldId id="2722" r:id="rId31"/>
    <p:sldId id="2723" r:id="rId32"/>
    <p:sldId id="272" r:id="rId33"/>
    <p:sldId id="274" r:id="rId34"/>
    <p:sldId id="273" r:id="rId35"/>
  </p:sldIdLst>
  <p:sldSz cx="12192000" cy="6858000"/>
  <p:notesSz cx="6858000" cy="9144000"/>
  <p:custDataLst>
    <p:tags r:id="rId37"/>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PhluFqUxz+QwhA3mrrxPtg==" hashData="3pHBlMAI7G91w4MKvROwJWNY/a0SBDLXY91S8CZUKRNUIirUcu4Zf1OMxz5Gyn7S03OKcp8gPspuonfAc6spOg=="/>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C044"/>
    <a:srgbClr val="014B14"/>
    <a:srgbClr val="EBE9DE"/>
    <a:srgbClr val="7DFF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1FE82B-2BD3-403A-BE67-73F72757EBD2}" v="21" dt="2024-08-28T20:53:55.022"/>
  </p1510:revLst>
</p1510:revInfo>
</file>

<file path=ppt/tableStyles.xml><?xml version="1.0" encoding="utf-8"?>
<a:tblStyleLst xmlns:a="http://schemas.openxmlformats.org/drawingml/2006/main" def="{5C22544A-7EE6-4342-B048-85BDC9FD1C3A}">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15" autoAdjust="0"/>
    <p:restoredTop sz="94724" autoAdjust="0"/>
  </p:normalViewPr>
  <p:slideViewPr>
    <p:cSldViewPr snapToGrid="0" snapToObjects="1">
      <p:cViewPr varScale="1">
        <p:scale>
          <a:sx n="106" d="100"/>
          <a:sy n="106" d="100"/>
        </p:scale>
        <p:origin x="41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son Concha, Luis Enrique" userId="24a26401-76f9-4f62-bb1e-7d6980a282dd" providerId="ADAL" clId="{8E78D5C7-540C-4C79-A382-5D3B51477800}"/>
    <pc:docChg chg="undo custSel addSld delSld modSld sldOrd replTag delTag">
      <pc:chgData name="Richardson Concha, Luis Enrique" userId="24a26401-76f9-4f62-bb1e-7d6980a282dd" providerId="ADAL" clId="{8E78D5C7-540C-4C79-A382-5D3B51477800}" dt="2024-06-06T21:20:39.971" v="3021" actId="20577"/>
      <pc:docMkLst>
        <pc:docMk/>
      </pc:docMkLst>
      <pc:sldChg chg="addSp delSp modSp mod replTag delTag">
        <pc:chgData name="Richardson Concha, Luis Enrique" userId="24a26401-76f9-4f62-bb1e-7d6980a282dd" providerId="ADAL" clId="{8E78D5C7-540C-4C79-A382-5D3B51477800}" dt="2024-06-06T21:16:03.237" v="2961"/>
        <pc:sldMkLst>
          <pc:docMk/>
          <pc:sldMk cId="2989611669" sldId="256"/>
        </pc:sldMkLst>
        <pc:spChg chg="mod ord">
          <ac:chgData name="Richardson Concha, Luis Enrique" userId="24a26401-76f9-4f62-bb1e-7d6980a282dd" providerId="ADAL" clId="{8E78D5C7-540C-4C79-A382-5D3B51477800}" dt="2024-06-05T20:09:06.771" v="41"/>
          <ac:spMkLst>
            <pc:docMk/>
            <pc:sldMk cId="2989611669" sldId="256"/>
            <ac:spMk id="4" creationId="{8E102811-4AA1-1D45-A94D-ABC3DAF55731}"/>
          </ac:spMkLst>
        </pc:spChg>
        <pc:spChg chg="mod ord">
          <ac:chgData name="Richardson Concha, Luis Enrique" userId="24a26401-76f9-4f62-bb1e-7d6980a282dd" providerId="ADAL" clId="{8E78D5C7-540C-4C79-A382-5D3B51477800}" dt="2024-06-05T20:15:08.573" v="74" actId="20577"/>
          <ac:spMkLst>
            <pc:docMk/>
            <pc:sldMk cId="2989611669" sldId="256"/>
            <ac:spMk id="6" creationId="{A412EC63-7B19-9143-8828-5510B74BCE97}"/>
          </ac:spMkLst>
        </pc:spChg>
        <pc:graphicFrameChg chg="mod">
          <ac:chgData name="Richardson Concha, Luis Enrique" userId="24a26401-76f9-4f62-bb1e-7d6980a282dd" providerId="ADAL" clId="{8E78D5C7-540C-4C79-A382-5D3B51477800}" dt="2024-06-05T20:09:06.784" v="49"/>
          <ac:graphicFrameMkLst>
            <pc:docMk/>
            <pc:sldMk cId="2989611669" sldId="256"/>
            <ac:graphicFrameMk id="3" creationId="{03C2254C-7F64-A57C-595C-D9FC658AC1CE}"/>
          </ac:graphicFrameMkLst>
        </pc:graphicFrameChg>
        <pc:picChg chg="mod ord">
          <ac:chgData name="Richardson Concha, Luis Enrique" userId="24a26401-76f9-4f62-bb1e-7d6980a282dd" providerId="ADAL" clId="{8E78D5C7-540C-4C79-A382-5D3B51477800}" dt="2024-06-05T20:09:06.772" v="43"/>
          <ac:picMkLst>
            <pc:docMk/>
            <pc:sldMk cId="2989611669" sldId="256"/>
            <ac:picMk id="5" creationId="{2BAFCD49-1BAE-1A4E-B050-5EAAA35829C5}"/>
          </ac:picMkLst>
        </pc:picChg>
        <pc:picChg chg="del mod ord">
          <ac:chgData name="Richardson Concha, Luis Enrique" userId="24a26401-76f9-4f62-bb1e-7d6980a282dd" providerId="ADAL" clId="{8E78D5C7-540C-4C79-A382-5D3B51477800}" dt="2024-06-05T20:09:08.178" v="50" actId="478"/>
          <ac:picMkLst>
            <pc:docMk/>
            <pc:sldMk cId="2989611669" sldId="256"/>
            <ac:picMk id="7" creationId="{00000000-0000-0000-0000-000000000000}"/>
          </ac:picMkLst>
        </pc:picChg>
        <pc:picChg chg="add mod ord modCrop">
          <ac:chgData name="Richardson Concha, Luis Enrique" userId="24a26401-76f9-4f62-bb1e-7d6980a282dd" providerId="ADAL" clId="{8E78D5C7-540C-4C79-A382-5D3B51477800}" dt="2024-06-05T20:09:06.770" v="37"/>
          <ac:picMkLst>
            <pc:docMk/>
            <pc:sldMk cId="2989611669" sldId="256"/>
            <ac:picMk id="8" creationId="{3416915C-DB1E-32EB-3CE1-45657278A001}"/>
          </ac:picMkLst>
        </pc:picChg>
      </pc:sldChg>
      <pc:sldChg chg="modSp mod replTag delTag">
        <pc:chgData name="Richardson Concha, Luis Enrique" userId="24a26401-76f9-4f62-bb1e-7d6980a282dd" providerId="ADAL" clId="{8E78D5C7-540C-4C79-A382-5D3B51477800}" dt="2024-06-06T18:49:50.266" v="2945"/>
        <pc:sldMkLst>
          <pc:docMk/>
          <pc:sldMk cId="1483252922" sldId="257"/>
        </pc:sldMkLst>
        <pc:spChg chg="mod">
          <ac:chgData name="Richardson Concha, Luis Enrique" userId="24a26401-76f9-4f62-bb1e-7d6980a282dd" providerId="ADAL" clId="{8E78D5C7-540C-4C79-A382-5D3B51477800}" dt="2024-06-06T14:23:38.524" v="1426" actId="6549"/>
          <ac:spMkLst>
            <pc:docMk/>
            <pc:sldMk cId="1483252922" sldId="257"/>
            <ac:spMk id="8" creationId="{446335A6-EAD4-0247-9833-6E25C18FE4CB}"/>
          </ac:spMkLst>
        </pc:spChg>
      </pc:sldChg>
      <pc:sldChg chg="replTag delTag">
        <pc:chgData name="Richardson Concha, Luis Enrique" userId="24a26401-76f9-4f62-bb1e-7d6980a282dd" providerId="ADAL" clId="{8E78D5C7-540C-4C79-A382-5D3B51477800}" dt="2024-06-06T18:48:37.206" v="2877"/>
        <pc:sldMkLst>
          <pc:docMk/>
          <pc:sldMk cId="3858523066" sldId="272"/>
        </pc:sldMkLst>
      </pc:sldChg>
      <pc:sldChg chg="replTag delTag">
        <pc:chgData name="Richardson Concha, Luis Enrique" userId="24a26401-76f9-4f62-bb1e-7d6980a282dd" providerId="ADAL" clId="{8E78D5C7-540C-4C79-A382-5D3B51477800}" dt="2024-06-06T14:54:52.595" v="1763"/>
        <pc:sldMkLst>
          <pc:docMk/>
          <pc:sldMk cId="1458797933" sldId="274"/>
        </pc:sldMkLst>
      </pc:sldChg>
      <pc:sldChg chg="addSp delSp modSp mod replTag delTag">
        <pc:chgData name="Richardson Concha, Luis Enrique" userId="24a26401-76f9-4f62-bb1e-7d6980a282dd" providerId="ADAL" clId="{8E78D5C7-540C-4C79-A382-5D3B51477800}" dt="2024-06-06T18:49:50.691" v="2947"/>
        <pc:sldMkLst>
          <pc:docMk/>
          <pc:sldMk cId="4017552152" sldId="2698"/>
        </pc:sldMkLst>
        <pc:spChg chg="mod ord">
          <ac:chgData name="Richardson Concha, Luis Enrique" userId="24a26401-76f9-4f62-bb1e-7d6980a282dd" providerId="ADAL" clId="{8E78D5C7-540C-4C79-A382-5D3B51477800}" dt="2024-06-06T15:54:31.907" v="1855"/>
          <ac:spMkLst>
            <pc:docMk/>
            <pc:sldMk cId="4017552152" sldId="2698"/>
            <ac:spMk id="4" creationId="{00000000-0000-0000-0000-000000000000}"/>
          </ac:spMkLst>
        </pc:spChg>
        <pc:spChg chg="mod ord">
          <ac:chgData name="Richardson Concha, Luis Enrique" userId="24a26401-76f9-4f62-bb1e-7d6980a282dd" providerId="ADAL" clId="{8E78D5C7-540C-4C79-A382-5D3B51477800}" dt="2024-06-06T15:54:31.906" v="1851"/>
          <ac:spMkLst>
            <pc:docMk/>
            <pc:sldMk cId="4017552152" sldId="2698"/>
            <ac:spMk id="17" creationId="{BFBD94C6-FF5E-924E-A4E6-F9CEF0E1FFE5}"/>
          </ac:spMkLst>
        </pc:spChg>
        <pc:spChg chg="mod ord">
          <ac:chgData name="Richardson Concha, Luis Enrique" userId="24a26401-76f9-4f62-bb1e-7d6980a282dd" providerId="ADAL" clId="{8E78D5C7-540C-4C79-A382-5D3B51477800}" dt="2024-06-06T15:54:31.906" v="1849"/>
          <ac:spMkLst>
            <pc:docMk/>
            <pc:sldMk cId="4017552152" sldId="2698"/>
            <ac:spMk id="36" creationId="{F9506A3C-ED6C-864E-946A-28D52CFBE7C1}"/>
          </ac:spMkLst>
        </pc:spChg>
        <pc:graphicFrameChg chg="mod">
          <ac:chgData name="Richardson Concha, Luis Enrique" userId="24a26401-76f9-4f62-bb1e-7d6980a282dd" providerId="ADAL" clId="{8E78D5C7-540C-4C79-A382-5D3B51477800}" dt="2024-06-06T15:54:31.918" v="1859"/>
          <ac:graphicFrameMkLst>
            <pc:docMk/>
            <pc:sldMk cId="4017552152" sldId="2698"/>
            <ac:graphicFrameMk id="6" creationId="{7916D848-0D74-682B-2059-D4867C0BDEEE}"/>
          </ac:graphicFrameMkLst>
        </pc:graphicFrameChg>
        <pc:picChg chg="mod ord">
          <ac:chgData name="Richardson Concha, Luis Enrique" userId="24a26401-76f9-4f62-bb1e-7d6980a282dd" providerId="ADAL" clId="{8E78D5C7-540C-4C79-A382-5D3B51477800}" dt="2024-06-06T15:54:31.907" v="1853"/>
          <ac:picMkLst>
            <pc:docMk/>
            <pc:sldMk cId="4017552152" sldId="2698"/>
            <ac:picMk id="3" creationId="{E326459A-0391-08B7-78AF-F69E865FCF45}"/>
          </ac:picMkLst>
        </pc:picChg>
        <pc:picChg chg="del mod ord">
          <ac:chgData name="Richardson Concha, Luis Enrique" userId="24a26401-76f9-4f62-bb1e-7d6980a282dd" providerId="ADAL" clId="{8E78D5C7-540C-4C79-A382-5D3B51477800}" dt="2024-06-06T15:54:33.217" v="1860" actId="478"/>
          <ac:picMkLst>
            <pc:docMk/>
            <pc:sldMk cId="4017552152" sldId="2698"/>
            <ac:picMk id="5" creationId="{00000000-0000-0000-0000-000000000000}"/>
          </ac:picMkLst>
        </pc:picChg>
        <pc:picChg chg="add mod ord modCrop">
          <ac:chgData name="Richardson Concha, Luis Enrique" userId="24a26401-76f9-4f62-bb1e-7d6980a282dd" providerId="ADAL" clId="{8E78D5C7-540C-4C79-A382-5D3B51477800}" dt="2024-06-06T15:54:31.904" v="1845"/>
          <ac:picMkLst>
            <pc:docMk/>
            <pc:sldMk cId="4017552152" sldId="2698"/>
            <ac:picMk id="7" creationId="{FF069134-B192-2B2B-7C8A-08E6173506A4}"/>
          </ac:picMkLst>
        </pc:picChg>
      </pc:sldChg>
      <pc:sldChg chg="addSp delSp modSp mod replTag delTag">
        <pc:chgData name="Richardson Concha, Luis Enrique" userId="24a26401-76f9-4f62-bb1e-7d6980a282dd" providerId="ADAL" clId="{8E78D5C7-540C-4C79-A382-5D3B51477800}" dt="2024-06-06T21:16:07.340" v="2965"/>
        <pc:sldMkLst>
          <pc:docMk/>
          <pc:sldMk cId="1544331097" sldId="2699"/>
        </pc:sldMkLst>
        <pc:spChg chg="mod ord">
          <ac:chgData name="Richardson Concha, Luis Enrique" userId="24a26401-76f9-4f62-bb1e-7d6980a282dd" providerId="ADAL" clId="{8E78D5C7-540C-4C79-A382-5D3B51477800}" dt="2024-06-06T16:26:58.881" v="1929"/>
          <ac:spMkLst>
            <pc:docMk/>
            <pc:sldMk cId="1544331097" sldId="2699"/>
            <ac:spMk id="17" creationId="{BFBD94C6-FF5E-924E-A4E6-F9CEF0E1FFE5}"/>
          </ac:spMkLst>
        </pc:spChg>
        <pc:spChg chg="mod ord">
          <ac:chgData name="Richardson Concha, Luis Enrique" userId="24a26401-76f9-4f62-bb1e-7d6980a282dd" providerId="ADAL" clId="{8E78D5C7-540C-4C79-A382-5D3B51477800}" dt="2024-06-06T16:26:58.881" v="1927"/>
          <ac:spMkLst>
            <pc:docMk/>
            <pc:sldMk cId="1544331097" sldId="2699"/>
            <ac:spMk id="36" creationId="{F9506A3C-ED6C-864E-946A-28D52CFBE7C1}"/>
          </ac:spMkLst>
        </pc:spChg>
        <pc:graphicFrameChg chg="mod">
          <ac:chgData name="Richardson Concha, Luis Enrique" userId="24a26401-76f9-4f62-bb1e-7d6980a282dd" providerId="ADAL" clId="{8E78D5C7-540C-4C79-A382-5D3B51477800}" dt="2024-06-06T16:26:58.891" v="1935"/>
          <ac:graphicFrameMkLst>
            <pc:docMk/>
            <pc:sldMk cId="1544331097" sldId="2699"/>
            <ac:graphicFrameMk id="6" creationId="{7916D848-0D74-682B-2059-D4867C0BDEEE}"/>
          </ac:graphicFrameMkLst>
        </pc:graphicFrameChg>
        <pc:picChg chg="mod ord">
          <ac:chgData name="Richardson Concha, Luis Enrique" userId="24a26401-76f9-4f62-bb1e-7d6980a282dd" providerId="ADAL" clId="{8E78D5C7-540C-4C79-A382-5D3B51477800}" dt="2024-06-06T16:26:58.882" v="1931"/>
          <ac:picMkLst>
            <pc:docMk/>
            <pc:sldMk cId="1544331097" sldId="2699"/>
            <ac:picMk id="3" creationId="{E326459A-0391-08B7-78AF-F69E865FCF45}"/>
          </ac:picMkLst>
        </pc:picChg>
        <pc:picChg chg="add mod ord modCrop">
          <ac:chgData name="Richardson Concha, Luis Enrique" userId="24a26401-76f9-4f62-bb1e-7d6980a282dd" providerId="ADAL" clId="{8E78D5C7-540C-4C79-A382-5D3B51477800}" dt="2024-06-06T16:26:58.880" v="1923"/>
          <ac:picMkLst>
            <pc:docMk/>
            <pc:sldMk cId="1544331097" sldId="2699"/>
            <ac:picMk id="4" creationId="{EC419176-E53B-9102-930A-92F2A04C4E30}"/>
          </ac:picMkLst>
        </pc:picChg>
        <pc:picChg chg="del mod ord">
          <ac:chgData name="Richardson Concha, Luis Enrique" userId="24a26401-76f9-4f62-bb1e-7d6980a282dd" providerId="ADAL" clId="{8E78D5C7-540C-4C79-A382-5D3B51477800}" dt="2024-06-06T16:27:00.154" v="1936" actId="478"/>
          <ac:picMkLst>
            <pc:docMk/>
            <pc:sldMk cId="1544331097" sldId="2699"/>
            <ac:picMk id="5" creationId="{00000000-0000-0000-0000-000000000000}"/>
          </ac:picMkLst>
        </pc:picChg>
      </pc:sldChg>
      <pc:sldChg chg="del replTag delTag">
        <pc:chgData name="Richardson Concha, Luis Enrique" userId="24a26401-76f9-4f62-bb1e-7d6980a282dd" providerId="ADAL" clId="{8E78D5C7-540C-4C79-A382-5D3B51477800}" dt="2024-06-05T20:28:28.421" v="207" actId="47"/>
        <pc:sldMkLst>
          <pc:docMk/>
          <pc:sldMk cId="1779423148" sldId="2700"/>
        </pc:sldMkLst>
      </pc:sldChg>
      <pc:sldChg chg="addSp delSp modSp add mod replTag delTag modNotesTx">
        <pc:chgData name="Richardson Concha, Luis Enrique" userId="24a26401-76f9-4f62-bb1e-7d6980a282dd" providerId="ADAL" clId="{8E78D5C7-540C-4C79-A382-5D3B51477800}" dt="2024-06-06T21:16:43.610" v="2967"/>
        <pc:sldMkLst>
          <pc:docMk/>
          <pc:sldMk cId="2002247355" sldId="2700"/>
        </pc:sldMkLst>
        <pc:spChg chg="mod ord">
          <ac:chgData name="Richardson Concha, Luis Enrique" userId="24a26401-76f9-4f62-bb1e-7d6980a282dd" providerId="ADAL" clId="{8E78D5C7-540C-4C79-A382-5D3B51477800}" dt="2024-06-06T16:31:05.641" v="1964"/>
          <ac:spMkLst>
            <pc:docMk/>
            <pc:sldMk cId="2002247355" sldId="2700"/>
            <ac:spMk id="17" creationId="{BFBD94C6-FF5E-924E-A4E6-F9CEF0E1FFE5}"/>
          </ac:spMkLst>
        </pc:spChg>
        <pc:spChg chg="mod ord">
          <ac:chgData name="Richardson Concha, Luis Enrique" userId="24a26401-76f9-4f62-bb1e-7d6980a282dd" providerId="ADAL" clId="{8E78D5C7-540C-4C79-A382-5D3B51477800}" dt="2024-06-06T16:31:05.640" v="1962"/>
          <ac:spMkLst>
            <pc:docMk/>
            <pc:sldMk cId="2002247355" sldId="2700"/>
            <ac:spMk id="36" creationId="{F9506A3C-ED6C-864E-946A-28D52CFBE7C1}"/>
          </ac:spMkLst>
        </pc:spChg>
        <pc:graphicFrameChg chg="mod">
          <ac:chgData name="Richardson Concha, Luis Enrique" userId="24a26401-76f9-4f62-bb1e-7d6980a282dd" providerId="ADAL" clId="{8E78D5C7-540C-4C79-A382-5D3B51477800}" dt="2024-06-06T16:31:05.645" v="1970"/>
          <ac:graphicFrameMkLst>
            <pc:docMk/>
            <pc:sldMk cId="2002247355" sldId="2700"/>
            <ac:graphicFrameMk id="6" creationId="{7916D848-0D74-682B-2059-D4867C0BDEEE}"/>
          </ac:graphicFrameMkLst>
        </pc:graphicFrameChg>
        <pc:picChg chg="mod ord">
          <ac:chgData name="Richardson Concha, Luis Enrique" userId="24a26401-76f9-4f62-bb1e-7d6980a282dd" providerId="ADAL" clId="{8E78D5C7-540C-4C79-A382-5D3B51477800}" dt="2024-06-06T16:31:05.641" v="1966"/>
          <ac:picMkLst>
            <pc:docMk/>
            <pc:sldMk cId="2002247355" sldId="2700"/>
            <ac:picMk id="3" creationId="{E326459A-0391-08B7-78AF-F69E865FCF45}"/>
          </ac:picMkLst>
        </pc:picChg>
        <pc:picChg chg="add del mod">
          <ac:chgData name="Richardson Concha, Luis Enrique" userId="24a26401-76f9-4f62-bb1e-7d6980a282dd" providerId="ADAL" clId="{8E78D5C7-540C-4C79-A382-5D3B51477800}" dt="2024-06-06T16:30:20.699" v="1950" actId="478"/>
          <ac:picMkLst>
            <pc:docMk/>
            <pc:sldMk cId="2002247355" sldId="2700"/>
            <ac:picMk id="4" creationId="{162F6377-2DA2-8C45-6EF2-EC6B2B0998CE}"/>
          </ac:picMkLst>
        </pc:picChg>
        <pc:picChg chg="del mod ord">
          <ac:chgData name="Richardson Concha, Luis Enrique" userId="24a26401-76f9-4f62-bb1e-7d6980a282dd" providerId="ADAL" clId="{8E78D5C7-540C-4C79-A382-5D3B51477800}" dt="2024-06-06T16:31:08.043" v="1971" actId="478"/>
          <ac:picMkLst>
            <pc:docMk/>
            <pc:sldMk cId="2002247355" sldId="2700"/>
            <ac:picMk id="5" creationId="{00000000-0000-0000-0000-000000000000}"/>
          </ac:picMkLst>
        </pc:picChg>
        <pc:picChg chg="add mod ord modCrop">
          <ac:chgData name="Richardson Concha, Luis Enrique" userId="24a26401-76f9-4f62-bb1e-7d6980a282dd" providerId="ADAL" clId="{8E78D5C7-540C-4C79-A382-5D3B51477800}" dt="2024-06-06T16:31:11.635" v="1972" actId="14100"/>
          <ac:picMkLst>
            <pc:docMk/>
            <pc:sldMk cId="2002247355" sldId="2700"/>
            <ac:picMk id="8" creationId="{014EA13B-0F60-E705-83C0-6A21A6941313}"/>
          </ac:picMkLst>
        </pc:picChg>
      </pc:sldChg>
      <pc:sldChg chg="addSp delSp modSp add mod ord replTag delTag">
        <pc:chgData name="Richardson Concha, Luis Enrique" userId="24a26401-76f9-4f62-bb1e-7d6980a282dd" providerId="ADAL" clId="{8E78D5C7-540C-4C79-A382-5D3B51477800}" dt="2024-06-06T21:16:46.681" v="2973"/>
        <pc:sldMkLst>
          <pc:docMk/>
          <pc:sldMk cId="3060313290" sldId="2701"/>
        </pc:sldMkLst>
        <pc:spChg chg="mod ord">
          <ac:chgData name="Richardson Concha, Luis Enrique" userId="24a26401-76f9-4f62-bb1e-7d6980a282dd" providerId="ADAL" clId="{8E78D5C7-540C-4C79-A382-5D3B51477800}" dt="2024-06-06T16:33:49.960" v="2018"/>
          <ac:spMkLst>
            <pc:docMk/>
            <pc:sldMk cId="3060313290" sldId="2701"/>
            <ac:spMk id="17" creationId="{BFBD94C6-FF5E-924E-A4E6-F9CEF0E1FFE5}"/>
          </ac:spMkLst>
        </pc:spChg>
        <pc:spChg chg="mod ord">
          <ac:chgData name="Richardson Concha, Luis Enrique" userId="24a26401-76f9-4f62-bb1e-7d6980a282dd" providerId="ADAL" clId="{8E78D5C7-540C-4C79-A382-5D3B51477800}" dt="2024-06-06T16:33:49.960" v="2016"/>
          <ac:spMkLst>
            <pc:docMk/>
            <pc:sldMk cId="3060313290" sldId="2701"/>
            <ac:spMk id="36" creationId="{F9506A3C-ED6C-864E-946A-28D52CFBE7C1}"/>
          </ac:spMkLst>
        </pc:spChg>
        <pc:graphicFrameChg chg="mod">
          <ac:chgData name="Richardson Concha, Luis Enrique" userId="24a26401-76f9-4f62-bb1e-7d6980a282dd" providerId="ADAL" clId="{8E78D5C7-540C-4C79-A382-5D3B51477800}" dt="2024-06-06T16:33:49.963" v="2024"/>
          <ac:graphicFrameMkLst>
            <pc:docMk/>
            <pc:sldMk cId="3060313290" sldId="2701"/>
            <ac:graphicFrameMk id="6" creationId="{7916D848-0D74-682B-2059-D4867C0BDEEE}"/>
          </ac:graphicFrameMkLst>
        </pc:graphicFrameChg>
        <pc:picChg chg="mod ord">
          <ac:chgData name="Richardson Concha, Luis Enrique" userId="24a26401-76f9-4f62-bb1e-7d6980a282dd" providerId="ADAL" clId="{8E78D5C7-540C-4C79-A382-5D3B51477800}" dt="2024-06-06T16:33:49.961" v="2020"/>
          <ac:picMkLst>
            <pc:docMk/>
            <pc:sldMk cId="3060313290" sldId="2701"/>
            <ac:picMk id="3" creationId="{E326459A-0391-08B7-78AF-F69E865FCF45}"/>
          </ac:picMkLst>
        </pc:picChg>
        <pc:picChg chg="add del mod">
          <ac:chgData name="Richardson Concha, Luis Enrique" userId="24a26401-76f9-4f62-bb1e-7d6980a282dd" providerId="ADAL" clId="{8E78D5C7-540C-4C79-A382-5D3B51477800}" dt="2024-06-06T16:33:25.259" v="2005" actId="478"/>
          <ac:picMkLst>
            <pc:docMk/>
            <pc:sldMk cId="3060313290" sldId="2701"/>
            <ac:picMk id="4" creationId="{CA6D197D-E66A-DD62-B837-B09E4D853C49}"/>
          </ac:picMkLst>
        </pc:picChg>
        <pc:picChg chg="del mod ord">
          <ac:chgData name="Richardson Concha, Luis Enrique" userId="24a26401-76f9-4f62-bb1e-7d6980a282dd" providerId="ADAL" clId="{8E78D5C7-540C-4C79-A382-5D3B51477800}" dt="2024-06-06T16:33:51.273" v="2025" actId="478"/>
          <ac:picMkLst>
            <pc:docMk/>
            <pc:sldMk cId="3060313290" sldId="2701"/>
            <ac:picMk id="5" creationId="{00000000-0000-0000-0000-000000000000}"/>
          </ac:picMkLst>
        </pc:picChg>
        <pc:picChg chg="add mod ord modCrop">
          <ac:chgData name="Richardson Concha, Luis Enrique" userId="24a26401-76f9-4f62-bb1e-7d6980a282dd" providerId="ADAL" clId="{8E78D5C7-540C-4C79-A382-5D3B51477800}" dt="2024-06-06T16:33:49.958" v="2012"/>
          <ac:picMkLst>
            <pc:docMk/>
            <pc:sldMk cId="3060313290" sldId="2701"/>
            <ac:picMk id="8" creationId="{8A5FFCAE-7942-FD56-1B8A-34967F9FCD52}"/>
          </ac:picMkLst>
        </pc:picChg>
      </pc:sldChg>
      <pc:sldChg chg="del replTag delTag">
        <pc:chgData name="Richardson Concha, Luis Enrique" userId="24a26401-76f9-4f62-bb1e-7d6980a282dd" providerId="ADAL" clId="{8E78D5C7-540C-4C79-A382-5D3B51477800}" dt="2024-06-05T20:28:28.983" v="212" actId="47"/>
        <pc:sldMkLst>
          <pc:docMk/>
          <pc:sldMk cId="3447600091" sldId="2701"/>
        </pc:sldMkLst>
      </pc:sldChg>
      <pc:sldChg chg="del replTag delTag">
        <pc:chgData name="Richardson Concha, Luis Enrique" userId="24a26401-76f9-4f62-bb1e-7d6980a282dd" providerId="ADAL" clId="{8E78D5C7-540C-4C79-A382-5D3B51477800}" dt="2024-06-05T20:28:29.530" v="217" actId="47"/>
        <pc:sldMkLst>
          <pc:docMk/>
          <pc:sldMk cId="1633057120" sldId="2702"/>
        </pc:sldMkLst>
      </pc:sldChg>
      <pc:sldChg chg="addSp delSp modSp add mod replTag delTag modNotesTx">
        <pc:chgData name="Richardson Concha, Luis Enrique" userId="24a26401-76f9-4f62-bb1e-7d6980a282dd" providerId="ADAL" clId="{8E78D5C7-540C-4C79-A382-5D3B51477800}" dt="2024-06-06T21:16:44.146" v="2969"/>
        <pc:sldMkLst>
          <pc:docMk/>
          <pc:sldMk cId="2237173219" sldId="2702"/>
        </pc:sldMkLst>
        <pc:spChg chg="mod ord">
          <ac:chgData name="Richardson Concha, Luis Enrique" userId="24a26401-76f9-4f62-bb1e-7d6980a282dd" providerId="ADAL" clId="{8E78D5C7-540C-4C79-A382-5D3B51477800}" dt="2024-06-06T16:31:18.520" v="1985"/>
          <ac:spMkLst>
            <pc:docMk/>
            <pc:sldMk cId="2237173219" sldId="2702"/>
            <ac:spMk id="17" creationId="{BFBD94C6-FF5E-924E-A4E6-F9CEF0E1FFE5}"/>
          </ac:spMkLst>
        </pc:spChg>
        <pc:spChg chg="mod ord">
          <ac:chgData name="Richardson Concha, Luis Enrique" userId="24a26401-76f9-4f62-bb1e-7d6980a282dd" providerId="ADAL" clId="{8E78D5C7-540C-4C79-A382-5D3B51477800}" dt="2024-06-06T16:31:18.520" v="1983"/>
          <ac:spMkLst>
            <pc:docMk/>
            <pc:sldMk cId="2237173219" sldId="2702"/>
            <ac:spMk id="36" creationId="{F9506A3C-ED6C-864E-946A-28D52CFBE7C1}"/>
          </ac:spMkLst>
        </pc:spChg>
        <pc:graphicFrameChg chg="mod">
          <ac:chgData name="Richardson Concha, Luis Enrique" userId="24a26401-76f9-4f62-bb1e-7d6980a282dd" providerId="ADAL" clId="{8E78D5C7-540C-4C79-A382-5D3B51477800}" dt="2024-06-06T16:31:18.523" v="1991"/>
          <ac:graphicFrameMkLst>
            <pc:docMk/>
            <pc:sldMk cId="2237173219" sldId="2702"/>
            <ac:graphicFrameMk id="6" creationId="{7916D848-0D74-682B-2059-D4867C0BDEEE}"/>
          </ac:graphicFrameMkLst>
        </pc:graphicFrameChg>
        <pc:picChg chg="mod ord">
          <ac:chgData name="Richardson Concha, Luis Enrique" userId="24a26401-76f9-4f62-bb1e-7d6980a282dd" providerId="ADAL" clId="{8E78D5C7-540C-4C79-A382-5D3B51477800}" dt="2024-06-06T16:31:18.520" v="1987"/>
          <ac:picMkLst>
            <pc:docMk/>
            <pc:sldMk cId="2237173219" sldId="2702"/>
            <ac:picMk id="3" creationId="{E326459A-0391-08B7-78AF-F69E865FCF45}"/>
          </ac:picMkLst>
        </pc:picChg>
        <pc:picChg chg="add del mod">
          <ac:chgData name="Richardson Concha, Luis Enrique" userId="24a26401-76f9-4f62-bb1e-7d6980a282dd" providerId="ADAL" clId="{8E78D5C7-540C-4C79-A382-5D3B51477800}" dt="2024-06-06T16:26:37.828" v="1913" actId="21"/>
          <ac:picMkLst>
            <pc:docMk/>
            <pc:sldMk cId="2237173219" sldId="2702"/>
            <ac:picMk id="4" creationId="{EC419176-E53B-9102-930A-92F2A04C4E30}"/>
          </ac:picMkLst>
        </pc:picChg>
        <pc:picChg chg="del mod ord">
          <ac:chgData name="Richardson Concha, Luis Enrique" userId="24a26401-76f9-4f62-bb1e-7d6980a282dd" providerId="ADAL" clId="{8E78D5C7-540C-4C79-A382-5D3B51477800}" dt="2024-06-06T16:31:19.851" v="1992" actId="478"/>
          <ac:picMkLst>
            <pc:docMk/>
            <pc:sldMk cId="2237173219" sldId="2702"/>
            <ac:picMk id="5" creationId="{00000000-0000-0000-0000-000000000000}"/>
          </ac:picMkLst>
        </pc:picChg>
        <pc:picChg chg="add mod ord">
          <ac:chgData name="Richardson Concha, Luis Enrique" userId="24a26401-76f9-4f62-bb1e-7d6980a282dd" providerId="ADAL" clId="{8E78D5C7-540C-4C79-A382-5D3B51477800}" dt="2024-06-06T16:31:22.841" v="1993" actId="14100"/>
          <ac:picMkLst>
            <pc:docMk/>
            <pc:sldMk cId="2237173219" sldId="2702"/>
            <ac:picMk id="7" creationId="{0AB48D45-99BE-7E8C-3F2E-D7A8976AB47B}"/>
          </ac:picMkLst>
        </pc:picChg>
      </pc:sldChg>
      <pc:sldChg chg="addSp delSp modSp add mod ord replTag delTag">
        <pc:chgData name="Richardson Concha, Luis Enrique" userId="24a26401-76f9-4f62-bb1e-7d6980a282dd" providerId="ADAL" clId="{8E78D5C7-540C-4C79-A382-5D3B51477800}" dt="2024-06-06T21:16:58.725" v="2975"/>
        <pc:sldMkLst>
          <pc:docMk/>
          <pc:sldMk cId="47669840" sldId="2703"/>
        </pc:sldMkLst>
        <pc:spChg chg="mod ord">
          <ac:chgData name="Richardson Concha, Luis Enrique" userId="24a26401-76f9-4f62-bb1e-7d6980a282dd" providerId="ADAL" clId="{8E78D5C7-540C-4C79-A382-5D3B51477800}" dt="2024-06-06T16:44:19.160" v="2057"/>
          <ac:spMkLst>
            <pc:docMk/>
            <pc:sldMk cId="47669840" sldId="2703"/>
            <ac:spMk id="17" creationId="{BFBD94C6-FF5E-924E-A4E6-F9CEF0E1FFE5}"/>
          </ac:spMkLst>
        </pc:spChg>
        <pc:spChg chg="mod ord">
          <ac:chgData name="Richardson Concha, Luis Enrique" userId="24a26401-76f9-4f62-bb1e-7d6980a282dd" providerId="ADAL" clId="{8E78D5C7-540C-4C79-A382-5D3B51477800}" dt="2024-06-06T16:44:19.160" v="2055"/>
          <ac:spMkLst>
            <pc:docMk/>
            <pc:sldMk cId="47669840" sldId="2703"/>
            <ac:spMk id="36" creationId="{F9506A3C-ED6C-864E-946A-28D52CFBE7C1}"/>
          </ac:spMkLst>
        </pc:spChg>
        <pc:graphicFrameChg chg="mod">
          <ac:chgData name="Richardson Concha, Luis Enrique" userId="24a26401-76f9-4f62-bb1e-7d6980a282dd" providerId="ADAL" clId="{8E78D5C7-540C-4C79-A382-5D3B51477800}" dt="2024-06-06T16:44:19.168" v="2063"/>
          <ac:graphicFrameMkLst>
            <pc:docMk/>
            <pc:sldMk cId="47669840" sldId="2703"/>
            <ac:graphicFrameMk id="6" creationId="{7916D848-0D74-682B-2059-D4867C0BDEEE}"/>
          </ac:graphicFrameMkLst>
        </pc:graphicFrameChg>
        <pc:picChg chg="mod ord">
          <ac:chgData name="Richardson Concha, Luis Enrique" userId="24a26401-76f9-4f62-bb1e-7d6980a282dd" providerId="ADAL" clId="{8E78D5C7-540C-4C79-A382-5D3B51477800}" dt="2024-06-06T16:44:19.160" v="2059"/>
          <ac:picMkLst>
            <pc:docMk/>
            <pc:sldMk cId="47669840" sldId="2703"/>
            <ac:picMk id="3" creationId="{E326459A-0391-08B7-78AF-F69E865FCF45}"/>
          </ac:picMkLst>
        </pc:picChg>
        <pc:picChg chg="add mod ord modCrop">
          <ac:chgData name="Richardson Concha, Luis Enrique" userId="24a26401-76f9-4f62-bb1e-7d6980a282dd" providerId="ADAL" clId="{8E78D5C7-540C-4C79-A382-5D3B51477800}" dt="2024-06-06T16:44:19.159" v="2051"/>
          <ac:picMkLst>
            <pc:docMk/>
            <pc:sldMk cId="47669840" sldId="2703"/>
            <ac:picMk id="4" creationId="{74501538-E00D-866F-0738-890BC85A4A9B}"/>
          </ac:picMkLst>
        </pc:picChg>
        <pc:picChg chg="del mod ord">
          <ac:chgData name="Richardson Concha, Luis Enrique" userId="24a26401-76f9-4f62-bb1e-7d6980a282dd" providerId="ADAL" clId="{8E78D5C7-540C-4C79-A382-5D3B51477800}" dt="2024-06-06T16:44:20.596" v="2064" actId="478"/>
          <ac:picMkLst>
            <pc:docMk/>
            <pc:sldMk cId="47669840" sldId="2703"/>
            <ac:picMk id="5" creationId="{00000000-0000-0000-0000-000000000000}"/>
          </ac:picMkLst>
        </pc:picChg>
      </pc:sldChg>
      <pc:sldChg chg="del replTag delTag">
        <pc:chgData name="Richardson Concha, Luis Enrique" userId="24a26401-76f9-4f62-bb1e-7d6980a282dd" providerId="ADAL" clId="{8E78D5C7-540C-4C79-A382-5D3B51477800}" dt="2024-06-05T20:28:30.095" v="222" actId="47"/>
        <pc:sldMkLst>
          <pc:docMk/>
          <pc:sldMk cId="2343045108" sldId="2703"/>
        </pc:sldMkLst>
      </pc:sldChg>
      <pc:sldChg chg="addSp delSp modSp add mod ord replTag delTag">
        <pc:chgData name="Richardson Concha, Luis Enrique" userId="24a26401-76f9-4f62-bb1e-7d6980a282dd" providerId="ADAL" clId="{8E78D5C7-540C-4C79-A382-5D3B51477800}" dt="2024-06-06T21:17:01.606" v="2979"/>
        <pc:sldMkLst>
          <pc:docMk/>
          <pc:sldMk cId="3439049398" sldId="2704"/>
        </pc:sldMkLst>
        <pc:spChg chg="mod ord">
          <ac:chgData name="Richardson Concha, Luis Enrique" userId="24a26401-76f9-4f62-bb1e-7d6980a282dd" providerId="ADAL" clId="{8E78D5C7-540C-4C79-A382-5D3B51477800}" dt="2024-06-06T17:19:23.947" v="2094"/>
          <ac:spMkLst>
            <pc:docMk/>
            <pc:sldMk cId="3439049398" sldId="2704"/>
            <ac:spMk id="17" creationId="{BFBD94C6-FF5E-924E-A4E6-F9CEF0E1FFE5}"/>
          </ac:spMkLst>
        </pc:spChg>
        <pc:spChg chg="mod ord">
          <ac:chgData name="Richardson Concha, Luis Enrique" userId="24a26401-76f9-4f62-bb1e-7d6980a282dd" providerId="ADAL" clId="{8E78D5C7-540C-4C79-A382-5D3B51477800}" dt="2024-06-06T17:19:23.947" v="2092"/>
          <ac:spMkLst>
            <pc:docMk/>
            <pc:sldMk cId="3439049398" sldId="2704"/>
            <ac:spMk id="36" creationId="{F9506A3C-ED6C-864E-946A-28D52CFBE7C1}"/>
          </ac:spMkLst>
        </pc:spChg>
        <pc:graphicFrameChg chg="mod">
          <ac:chgData name="Richardson Concha, Luis Enrique" userId="24a26401-76f9-4f62-bb1e-7d6980a282dd" providerId="ADAL" clId="{8E78D5C7-540C-4C79-A382-5D3B51477800}" dt="2024-06-06T17:19:23.956" v="2100"/>
          <ac:graphicFrameMkLst>
            <pc:docMk/>
            <pc:sldMk cId="3439049398" sldId="2704"/>
            <ac:graphicFrameMk id="6" creationId="{7916D848-0D74-682B-2059-D4867C0BDEEE}"/>
          </ac:graphicFrameMkLst>
        </pc:graphicFrameChg>
        <pc:picChg chg="mod ord">
          <ac:chgData name="Richardson Concha, Luis Enrique" userId="24a26401-76f9-4f62-bb1e-7d6980a282dd" providerId="ADAL" clId="{8E78D5C7-540C-4C79-A382-5D3B51477800}" dt="2024-06-06T17:19:23.947" v="2096"/>
          <ac:picMkLst>
            <pc:docMk/>
            <pc:sldMk cId="3439049398" sldId="2704"/>
            <ac:picMk id="3" creationId="{E326459A-0391-08B7-78AF-F69E865FCF45}"/>
          </ac:picMkLst>
        </pc:picChg>
        <pc:picChg chg="add mod ord modCrop">
          <ac:chgData name="Richardson Concha, Luis Enrique" userId="24a26401-76f9-4f62-bb1e-7d6980a282dd" providerId="ADAL" clId="{8E78D5C7-540C-4C79-A382-5D3B51477800}" dt="2024-06-06T17:19:23.944" v="2088"/>
          <ac:picMkLst>
            <pc:docMk/>
            <pc:sldMk cId="3439049398" sldId="2704"/>
            <ac:picMk id="4" creationId="{CEB443B1-B660-F629-F3CC-51A54145A804}"/>
          </ac:picMkLst>
        </pc:picChg>
        <pc:picChg chg="del mod ord">
          <ac:chgData name="Richardson Concha, Luis Enrique" userId="24a26401-76f9-4f62-bb1e-7d6980a282dd" providerId="ADAL" clId="{8E78D5C7-540C-4C79-A382-5D3B51477800}" dt="2024-06-06T17:19:25.758" v="2101" actId="478"/>
          <ac:picMkLst>
            <pc:docMk/>
            <pc:sldMk cId="3439049398" sldId="2704"/>
            <ac:picMk id="5" creationId="{00000000-0000-0000-0000-000000000000}"/>
          </ac:picMkLst>
        </pc:picChg>
      </pc:sldChg>
      <pc:sldChg chg="del replTag delTag">
        <pc:chgData name="Richardson Concha, Luis Enrique" userId="24a26401-76f9-4f62-bb1e-7d6980a282dd" providerId="ADAL" clId="{8E78D5C7-540C-4C79-A382-5D3B51477800}" dt="2024-06-05T20:28:30.676" v="227" actId="47"/>
        <pc:sldMkLst>
          <pc:docMk/>
          <pc:sldMk cId="3460794031" sldId="2704"/>
        </pc:sldMkLst>
      </pc:sldChg>
      <pc:sldChg chg="addSp delSp modSp add mod ord replTag delTag">
        <pc:chgData name="Richardson Concha, Luis Enrique" userId="24a26401-76f9-4f62-bb1e-7d6980a282dd" providerId="ADAL" clId="{8E78D5C7-540C-4C79-A382-5D3B51477800}" dt="2024-06-06T21:17:14.183" v="2981"/>
        <pc:sldMkLst>
          <pc:docMk/>
          <pc:sldMk cId="109688094" sldId="2705"/>
        </pc:sldMkLst>
        <pc:spChg chg="mod ord">
          <ac:chgData name="Richardson Concha, Luis Enrique" userId="24a26401-76f9-4f62-bb1e-7d6980a282dd" providerId="ADAL" clId="{8E78D5C7-540C-4C79-A382-5D3B51477800}" dt="2024-06-06T17:21:01.137" v="2133"/>
          <ac:spMkLst>
            <pc:docMk/>
            <pc:sldMk cId="109688094" sldId="2705"/>
            <ac:spMk id="17" creationId="{BFBD94C6-FF5E-924E-A4E6-F9CEF0E1FFE5}"/>
          </ac:spMkLst>
        </pc:spChg>
        <pc:spChg chg="mod ord">
          <ac:chgData name="Richardson Concha, Luis Enrique" userId="24a26401-76f9-4f62-bb1e-7d6980a282dd" providerId="ADAL" clId="{8E78D5C7-540C-4C79-A382-5D3B51477800}" dt="2024-06-06T17:21:01.136" v="2131"/>
          <ac:spMkLst>
            <pc:docMk/>
            <pc:sldMk cId="109688094" sldId="2705"/>
            <ac:spMk id="36" creationId="{F9506A3C-ED6C-864E-946A-28D52CFBE7C1}"/>
          </ac:spMkLst>
        </pc:spChg>
        <pc:graphicFrameChg chg="mod">
          <ac:chgData name="Richardson Concha, Luis Enrique" userId="24a26401-76f9-4f62-bb1e-7d6980a282dd" providerId="ADAL" clId="{8E78D5C7-540C-4C79-A382-5D3B51477800}" dt="2024-06-06T17:21:01.141" v="2139"/>
          <ac:graphicFrameMkLst>
            <pc:docMk/>
            <pc:sldMk cId="109688094" sldId="2705"/>
            <ac:graphicFrameMk id="6" creationId="{7916D848-0D74-682B-2059-D4867C0BDEEE}"/>
          </ac:graphicFrameMkLst>
        </pc:graphicFrameChg>
        <pc:picChg chg="mod ord">
          <ac:chgData name="Richardson Concha, Luis Enrique" userId="24a26401-76f9-4f62-bb1e-7d6980a282dd" providerId="ADAL" clId="{8E78D5C7-540C-4C79-A382-5D3B51477800}" dt="2024-06-06T17:21:01.137" v="2135"/>
          <ac:picMkLst>
            <pc:docMk/>
            <pc:sldMk cId="109688094" sldId="2705"/>
            <ac:picMk id="3" creationId="{E326459A-0391-08B7-78AF-F69E865FCF45}"/>
          </ac:picMkLst>
        </pc:picChg>
        <pc:picChg chg="add mod ord modCrop">
          <ac:chgData name="Richardson Concha, Luis Enrique" userId="24a26401-76f9-4f62-bb1e-7d6980a282dd" providerId="ADAL" clId="{8E78D5C7-540C-4C79-A382-5D3B51477800}" dt="2024-06-06T17:21:01.135" v="2127"/>
          <ac:picMkLst>
            <pc:docMk/>
            <pc:sldMk cId="109688094" sldId="2705"/>
            <ac:picMk id="4" creationId="{7BB2B4E5-2851-8093-3359-C7FE44F2728A}"/>
          </ac:picMkLst>
        </pc:picChg>
        <pc:picChg chg="del mod ord">
          <ac:chgData name="Richardson Concha, Luis Enrique" userId="24a26401-76f9-4f62-bb1e-7d6980a282dd" providerId="ADAL" clId="{8E78D5C7-540C-4C79-A382-5D3B51477800}" dt="2024-06-06T17:21:02.498" v="2140" actId="478"/>
          <ac:picMkLst>
            <pc:docMk/>
            <pc:sldMk cId="109688094" sldId="2705"/>
            <ac:picMk id="5" creationId="{00000000-0000-0000-0000-000000000000}"/>
          </ac:picMkLst>
        </pc:picChg>
      </pc:sldChg>
      <pc:sldChg chg="del replTag delTag">
        <pc:chgData name="Richardson Concha, Luis Enrique" userId="24a26401-76f9-4f62-bb1e-7d6980a282dd" providerId="ADAL" clId="{8E78D5C7-540C-4C79-A382-5D3B51477800}" dt="2024-06-05T20:28:31.299" v="232" actId="47"/>
        <pc:sldMkLst>
          <pc:docMk/>
          <pc:sldMk cId="616261486" sldId="2705"/>
        </pc:sldMkLst>
      </pc:sldChg>
      <pc:sldChg chg="del replTag delTag">
        <pc:chgData name="Richardson Concha, Luis Enrique" userId="24a26401-76f9-4f62-bb1e-7d6980a282dd" providerId="ADAL" clId="{8E78D5C7-540C-4C79-A382-5D3B51477800}" dt="2024-06-05T20:28:31.907" v="237" actId="47"/>
        <pc:sldMkLst>
          <pc:docMk/>
          <pc:sldMk cId="3745508270" sldId="2706"/>
        </pc:sldMkLst>
      </pc:sldChg>
      <pc:sldChg chg="addSp delSp modSp add mod ord replTag delTag">
        <pc:chgData name="Richardson Concha, Luis Enrique" userId="24a26401-76f9-4f62-bb1e-7d6980a282dd" providerId="ADAL" clId="{8E78D5C7-540C-4C79-A382-5D3B51477800}" dt="2024-06-06T21:17:17.697" v="2985"/>
        <pc:sldMkLst>
          <pc:docMk/>
          <pc:sldMk cId="4168152505" sldId="2706"/>
        </pc:sldMkLst>
        <pc:spChg chg="mod ord">
          <ac:chgData name="Richardson Concha, Luis Enrique" userId="24a26401-76f9-4f62-bb1e-7d6980a282dd" providerId="ADAL" clId="{8E78D5C7-540C-4C79-A382-5D3B51477800}" dt="2024-06-06T17:22:12.963" v="2155"/>
          <ac:spMkLst>
            <pc:docMk/>
            <pc:sldMk cId="4168152505" sldId="2706"/>
            <ac:spMk id="17" creationId="{BFBD94C6-FF5E-924E-A4E6-F9CEF0E1FFE5}"/>
          </ac:spMkLst>
        </pc:spChg>
        <pc:spChg chg="mod ord">
          <ac:chgData name="Richardson Concha, Luis Enrique" userId="24a26401-76f9-4f62-bb1e-7d6980a282dd" providerId="ADAL" clId="{8E78D5C7-540C-4C79-A382-5D3B51477800}" dt="2024-06-06T17:22:12.963" v="2153"/>
          <ac:spMkLst>
            <pc:docMk/>
            <pc:sldMk cId="4168152505" sldId="2706"/>
            <ac:spMk id="36" creationId="{F9506A3C-ED6C-864E-946A-28D52CFBE7C1}"/>
          </ac:spMkLst>
        </pc:spChg>
        <pc:graphicFrameChg chg="mod">
          <ac:chgData name="Richardson Concha, Luis Enrique" userId="24a26401-76f9-4f62-bb1e-7d6980a282dd" providerId="ADAL" clId="{8E78D5C7-540C-4C79-A382-5D3B51477800}" dt="2024-06-06T17:22:12.968" v="2161"/>
          <ac:graphicFrameMkLst>
            <pc:docMk/>
            <pc:sldMk cId="4168152505" sldId="2706"/>
            <ac:graphicFrameMk id="6" creationId="{7916D848-0D74-682B-2059-D4867C0BDEEE}"/>
          </ac:graphicFrameMkLst>
        </pc:graphicFrameChg>
        <pc:picChg chg="mod ord">
          <ac:chgData name="Richardson Concha, Luis Enrique" userId="24a26401-76f9-4f62-bb1e-7d6980a282dd" providerId="ADAL" clId="{8E78D5C7-540C-4C79-A382-5D3B51477800}" dt="2024-06-06T17:22:12.964" v="2157"/>
          <ac:picMkLst>
            <pc:docMk/>
            <pc:sldMk cId="4168152505" sldId="2706"/>
            <ac:picMk id="3" creationId="{E326459A-0391-08B7-78AF-F69E865FCF45}"/>
          </ac:picMkLst>
        </pc:picChg>
        <pc:picChg chg="del mod ord">
          <ac:chgData name="Richardson Concha, Luis Enrique" userId="24a26401-76f9-4f62-bb1e-7d6980a282dd" providerId="ADAL" clId="{8E78D5C7-540C-4C79-A382-5D3B51477800}" dt="2024-06-06T17:22:14.257" v="2162" actId="478"/>
          <ac:picMkLst>
            <pc:docMk/>
            <pc:sldMk cId="4168152505" sldId="2706"/>
            <ac:picMk id="5" creationId="{00000000-0000-0000-0000-000000000000}"/>
          </ac:picMkLst>
        </pc:picChg>
        <pc:picChg chg="add mod">
          <ac:chgData name="Richardson Concha, Luis Enrique" userId="24a26401-76f9-4f62-bb1e-7d6980a282dd" providerId="ADAL" clId="{8E78D5C7-540C-4C79-A382-5D3B51477800}" dt="2024-06-06T17:22:12.962" v="2149"/>
          <ac:picMkLst>
            <pc:docMk/>
            <pc:sldMk cId="4168152505" sldId="2706"/>
            <ac:picMk id="1026" creationId="{51B170F2-1250-927A-768B-F3EF00E9C37F}"/>
          </ac:picMkLst>
        </pc:picChg>
      </pc:sldChg>
      <pc:sldChg chg="addSp delSp modSp add mod ord replTag delTag">
        <pc:chgData name="Richardson Concha, Luis Enrique" userId="24a26401-76f9-4f62-bb1e-7d6980a282dd" providerId="ADAL" clId="{8E78D5C7-540C-4C79-A382-5D3B51477800}" dt="2024-06-06T21:17:34.339" v="2987"/>
        <pc:sldMkLst>
          <pc:docMk/>
          <pc:sldMk cId="2479657985" sldId="2707"/>
        </pc:sldMkLst>
        <pc:spChg chg="mod ord">
          <ac:chgData name="Richardson Concha, Luis Enrique" userId="24a26401-76f9-4f62-bb1e-7d6980a282dd" providerId="ADAL" clId="{8E78D5C7-540C-4C79-A382-5D3B51477800}" dt="2024-06-06T17:30:39.642" v="2190"/>
          <ac:spMkLst>
            <pc:docMk/>
            <pc:sldMk cId="2479657985" sldId="2707"/>
            <ac:spMk id="17" creationId="{BFBD94C6-FF5E-924E-A4E6-F9CEF0E1FFE5}"/>
          </ac:spMkLst>
        </pc:spChg>
        <pc:spChg chg="mod ord">
          <ac:chgData name="Richardson Concha, Luis Enrique" userId="24a26401-76f9-4f62-bb1e-7d6980a282dd" providerId="ADAL" clId="{8E78D5C7-540C-4C79-A382-5D3B51477800}" dt="2024-06-06T17:30:39.642" v="2188"/>
          <ac:spMkLst>
            <pc:docMk/>
            <pc:sldMk cId="2479657985" sldId="2707"/>
            <ac:spMk id="36" creationId="{F9506A3C-ED6C-864E-946A-28D52CFBE7C1}"/>
          </ac:spMkLst>
        </pc:spChg>
        <pc:graphicFrameChg chg="mod">
          <ac:chgData name="Richardson Concha, Luis Enrique" userId="24a26401-76f9-4f62-bb1e-7d6980a282dd" providerId="ADAL" clId="{8E78D5C7-540C-4C79-A382-5D3B51477800}" dt="2024-06-06T17:30:39.647" v="2196"/>
          <ac:graphicFrameMkLst>
            <pc:docMk/>
            <pc:sldMk cId="2479657985" sldId="2707"/>
            <ac:graphicFrameMk id="6" creationId="{7916D848-0D74-682B-2059-D4867C0BDEEE}"/>
          </ac:graphicFrameMkLst>
        </pc:graphicFrameChg>
        <pc:picChg chg="mod ord">
          <ac:chgData name="Richardson Concha, Luis Enrique" userId="24a26401-76f9-4f62-bb1e-7d6980a282dd" providerId="ADAL" clId="{8E78D5C7-540C-4C79-A382-5D3B51477800}" dt="2024-06-06T17:30:39.644" v="2192"/>
          <ac:picMkLst>
            <pc:docMk/>
            <pc:sldMk cId="2479657985" sldId="2707"/>
            <ac:picMk id="3" creationId="{E326459A-0391-08B7-78AF-F69E865FCF45}"/>
          </ac:picMkLst>
        </pc:picChg>
        <pc:picChg chg="add mod ord modCrop">
          <ac:chgData name="Richardson Concha, Luis Enrique" userId="24a26401-76f9-4f62-bb1e-7d6980a282dd" providerId="ADAL" clId="{8E78D5C7-540C-4C79-A382-5D3B51477800}" dt="2024-06-06T17:30:39.641" v="2184"/>
          <ac:picMkLst>
            <pc:docMk/>
            <pc:sldMk cId="2479657985" sldId="2707"/>
            <ac:picMk id="4" creationId="{7C38C65D-73D0-FBF4-EAB4-7F1BBAB2507D}"/>
          </ac:picMkLst>
        </pc:picChg>
        <pc:picChg chg="del mod ord">
          <ac:chgData name="Richardson Concha, Luis Enrique" userId="24a26401-76f9-4f62-bb1e-7d6980a282dd" providerId="ADAL" clId="{8E78D5C7-540C-4C79-A382-5D3B51477800}" dt="2024-06-06T17:30:40.930" v="2197" actId="478"/>
          <ac:picMkLst>
            <pc:docMk/>
            <pc:sldMk cId="2479657985" sldId="2707"/>
            <ac:picMk id="5" creationId="{00000000-0000-0000-0000-000000000000}"/>
          </ac:picMkLst>
        </pc:picChg>
      </pc:sldChg>
      <pc:sldChg chg="del replTag delTag">
        <pc:chgData name="Richardson Concha, Luis Enrique" userId="24a26401-76f9-4f62-bb1e-7d6980a282dd" providerId="ADAL" clId="{8E78D5C7-540C-4C79-A382-5D3B51477800}" dt="2024-06-05T20:28:32.575" v="242" actId="47"/>
        <pc:sldMkLst>
          <pc:docMk/>
          <pc:sldMk cId="4106909936" sldId="2707"/>
        </pc:sldMkLst>
      </pc:sldChg>
      <pc:sldChg chg="del replTag delTag">
        <pc:chgData name="Richardson Concha, Luis Enrique" userId="24a26401-76f9-4f62-bb1e-7d6980a282dd" providerId="ADAL" clId="{8E78D5C7-540C-4C79-A382-5D3B51477800}" dt="2024-06-05T20:28:33.191" v="247" actId="47"/>
        <pc:sldMkLst>
          <pc:docMk/>
          <pc:sldMk cId="2288317796" sldId="2708"/>
        </pc:sldMkLst>
      </pc:sldChg>
      <pc:sldChg chg="addSp delSp modSp add mod ord replTag delTag">
        <pc:chgData name="Richardson Concha, Luis Enrique" userId="24a26401-76f9-4f62-bb1e-7d6980a282dd" providerId="ADAL" clId="{8E78D5C7-540C-4C79-A382-5D3B51477800}" dt="2024-06-06T21:17:39.212" v="2992" actId="20577"/>
        <pc:sldMkLst>
          <pc:docMk/>
          <pc:sldMk cId="3872246441" sldId="2708"/>
        </pc:sldMkLst>
        <pc:spChg chg="add">
          <ac:chgData name="Richardson Concha, Luis Enrique" userId="24a26401-76f9-4f62-bb1e-7d6980a282dd" providerId="ADAL" clId="{8E78D5C7-540C-4C79-A382-5D3B51477800}" dt="2024-06-06T17:44:36.018" v="2208"/>
          <ac:spMkLst>
            <pc:docMk/>
            <pc:sldMk cId="3872246441" sldId="2708"/>
            <ac:spMk id="2" creationId="{1BEB5831-C99D-D3FE-2EB0-6B2024FB8D51}"/>
          </ac:spMkLst>
        </pc:spChg>
        <pc:spChg chg="mod ord">
          <ac:chgData name="Richardson Concha, Luis Enrique" userId="24a26401-76f9-4f62-bb1e-7d6980a282dd" providerId="ADAL" clId="{8E78D5C7-540C-4C79-A382-5D3B51477800}" dt="2024-06-06T17:47:22.789" v="2233"/>
          <ac:spMkLst>
            <pc:docMk/>
            <pc:sldMk cId="3872246441" sldId="2708"/>
            <ac:spMk id="17" creationId="{BFBD94C6-FF5E-924E-A4E6-F9CEF0E1FFE5}"/>
          </ac:spMkLst>
        </pc:spChg>
        <pc:spChg chg="mod ord">
          <ac:chgData name="Richardson Concha, Luis Enrique" userId="24a26401-76f9-4f62-bb1e-7d6980a282dd" providerId="ADAL" clId="{8E78D5C7-540C-4C79-A382-5D3B51477800}" dt="2024-06-06T21:17:39.212" v="2992" actId="20577"/>
          <ac:spMkLst>
            <pc:docMk/>
            <pc:sldMk cId="3872246441" sldId="2708"/>
            <ac:spMk id="36" creationId="{F9506A3C-ED6C-864E-946A-28D52CFBE7C1}"/>
          </ac:spMkLst>
        </pc:spChg>
        <pc:graphicFrameChg chg="mod">
          <ac:chgData name="Richardson Concha, Luis Enrique" userId="24a26401-76f9-4f62-bb1e-7d6980a282dd" providerId="ADAL" clId="{8E78D5C7-540C-4C79-A382-5D3B51477800}" dt="2024-06-06T17:47:22.795" v="2239"/>
          <ac:graphicFrameMkLst>
            <pc:docMk/>
            <pc:sldMk cId="3872246441" sldId="2708"/>
            <ac:graphicFrameMk id="6" creationId="{7916D848-0D74-682B-2059-D4867C0BDEEE}"/>
          </ac:graphicFrameMkLst>
        </pc:graphicFrameChg>
        <pc:picChg chg="mod ord">
          <ac:chgData name="Richardson Concha, Luis Enrique" userId="24a26401-76f9-4f62-bb1e-7d6980a282dd" providerId="ADAL" clId="{8E78D5C7-540C-4C79-A382-5D3B51477800}" dt="2024-06-06T17:47:22.789" v="2235"/>
          <ac:picMkLst>
            <pc:docMk/>
            <pc:sldMk cId="3872246441" sldId="2708"/>
            <ac:picMk id="3" creationId="{E326459A-0391-08B7-78AF-F69E865FCF45}"/>
          </ac:picMkLst>
        </pc:picChg>
        <pc:picChg chg="add del mod ord">
          <ac:chgData name="Richardson Concha, Luis Enrique" userId="24a26401-76f9-4f62-bb1e-7d6980a282dd" providerId="ADAL" clId="{8E78D5C7-540C-4C79-A382-5D3B51477800}" dt="2024-06-06T17:47:24.018" v="2240" actId="478"/>
          <ac:picMkLst>
            <pc:docMk/>
            <pc:sldMk cId="3872246441" sldId="2708"/>
            <ac:picMk id="5" creationId="{00000000-0000-0000-0000-000000000000}"/>
          </ac:picMkLst>
        </pc:picChg>
        <pc:picChg chg="add del mod">
          <ac:chgData name="Richardson Concha, Luis Enrique" userId="24a26401-76f9-4f62-bb1e-7d6980a282dd" providerId="ADAL" clId="{8E78D5C7-540C-4C79-A382-5D3B51477800}" dt="2024-06-06T17:46:01.712" v="2222" actId="478"/>
          <ac:picMkLst>
            <pc:docMk/>
            <pc:sldMk cId="3872246441" sldId="2708"/>
            <ac:picMk id="2052" creationId="{95440F00-4675-2EF0-F2CB-8F1B6A91CE92}"/>
          </ac:picMkLst>
        </pc:picChg>
        <pc:picChg chg="add mod">
          <ac:chgData name="Richardson Concha, Luis Enrique" userId="24a26401-76f9-4f62-bb1e-7d6980a282dd" providerId="ADAL" clId="{8E78D5C7-540C-4C79-A382-5D3B51477800}" dt="2024-06-06T17:47:22.788" v="2227"/>
          <ac:picMkLst>
            <pc:docMk/>
            <pc:sldMk cId="3872246441" sldId="2708"/>
            <ac:picMk id="2054" creationId="{8D10BD91-C9D6-FEF7-62EA-9FA150786766}"/>
          </ac:picMkLst>
        </pc:picChg>
      </pc:sldChg>
      <pc:sldChg chg="del replTag delTag">
        <pc:chgData name="Richardson Concha, Luis Enrique" userId="24a26401-76f9-4f62-bb1e-7d6980a282dd" providerId="ADAL" clId="{8E78D5C7-540C-4C79-A382-5D3B51477800}" dt="2024-06-05T20:28:33.815" v="252" actId="47"/>
        <pc:sldMkLst>
          <pc:docMk/>
          <pc:sldMk cId="1714933851" sldId="2709"/>
        </pc:sldMkLst>
      </pc:sldChg>
      <pc:sldChg chg="addSp delSp modSp add mod ord replTag delTag">
        <pc:chgData name="Richardson Concha, Luis Enrique" userId="24a26401-76f9-4f62-bb1e-7d6980a282dd" providerId="ADAL" clId="{8E78D5C7-540C-4C79-A382-5D3B51477800}" dt="2024-06-06T21:17:53.750" v="2994"/>
        <pc:sldMkLst>
          <pc:docMk/>
          <pc:sldMk cId="1787597933" sldId="2709"/>
        </pc:sldMkLst>
        <pc:spChg chg="mod ord">
          <ac:chgData name="Richardson Concha, Luis Enrique" userId="24a26401-76f9-4f62-bb1e-7d6980a282dd" providerId="ADAL" clId="{8E78D5C7-540C-4C79-A382-5D3B51477800}" dt="2024-06-06T17:58:48.680" v="2367"/>
          <ac:spMkLst>
            <pc:docMk/>
            <pc:sldMk cId="1787597933" sldId="2709"/>
            <ac:spMk id="17" creationId="{BFBD94C6-FF5E-924E-A4E6-F9CEF0E1FFE5}"/>
          </ac:spMkLst>
        </pc:spChg>
        <pc:spChg chg="mod ord">
          <ac:chgData name="Richardson Concha, Luis Enrique" userId="24a26401-76f9-4f62-bb1e-7d6980a282dd" providerId="ADAL" clId="{8E78D5C7-540C-4C79-A382-5D3B51477800}" dt="2024-06-06T17:58:48.679" v="2365"/>
          <ac:spMkLst>
            <pc:docMk/>
            <pc:sldMk cId="1787597933" sldId="2709"/>
            <ac:spMk id="36" creationId="{F9506A3C-ED6C-864E-946A-28D52CFBE7C1}"/>
          </ac:spMkLst>
        </pc:spChg>
        <pc:graphicFrameChg chg="mod">
          <ac:chgData name="Richardson Concha, Luis Enrique" userId="24a26401-76f9-4f62-bb1e-7d6980a282dd" providerId="ADAL" clId="{8E78D5C7-540C-4C79-A382-5D3B51477800}" dt="2024-06-06T17:58:48.682" v="2373"/>
          <ac:graphicFrameMkLst>
            <pc:docMk/>
            <pc:sldMk cId="1787597933" sldId="2709"/>
            <ac:graphicFrameMk id="6" creationId="{7916D848-0D74-682B-2059-D4867C0BDEEE}"/>
          </ac:graphicFrameMkLst>
        </pc:graphicFrameChg>
        <pc:picChg chg="mod ord">
          <ac:chgData name="Richardson Concha, Luis Enrique" userId="24a26401-76f9-4f62-bb1e-7d6980a282dd" providerId="ADAL" clId="{8E78D5C7-540C-4C79-A382-5D3B51477800}" dt="2024-06-06T17:58:48.680" v="2369"/>
          <ac:picMkLst>
            <pc:docMk/>
            <pc:sldMk cId="1787597933" sldId="2709"/>
            <ac:picMk id="3" creationId="{E326459A-0391-08B7-78AF-F69E865FCF45}"/>
          </ac:picMkLst>
        </pc:picChg>
        <pc:picChg chg="add del mod">
          <ac:chgData name="Richardson Concha, Luis Enrique" userId="24a26401-76f9-4f62-bb1e-7d6980a282dd" providerId="ADAL" clId="{8E78D5C7-540C-4C79-A382-5D3B51477800}" dt="2024-06-06T17:52:35.230" v="2246" actId="21"/>
          <ac:picMkLst>
            <pc:docMk/>
            <pc:sldMk cId="1787597933" sldId="2709"/>
            <ac:picMk id="4" creationId="{8BE2193D-2662-AB23-F30A-8AD4065D1C83}"/>
          </ac:picMkLst>
        </pc:picChg>
        <pc:picChg chg="del mod ord">
          <ac:chgData name="Richardson Concha, Luis Enrique" userId="24a26401-76f9-4f62-bb1e-7d6980a282dd" providerId="ADAL" clId="{8E78D5C7-540C-4C79-A382-5D3B51477800}" dt="2024-06-06T17:58:50.334" v="2374" actId="478"/>
          <ac:picMkLst>
            <pc:docMk/>
            <pc:sldMk cId="1787597933" sldId="2709"/>
            <ac:picMk id="5" creationId="{00000000-0000-0000-0000-000000000000}"/>
          </ac:picMkLst>
        </pc:picChg>
        <pc:picChg chg="add mod ord modCrop">
          <ac:chgData name="Richardson Concha, Luis Enrique" userId="24a26401-76f9-4f62-bb1e-7d6980a282dd" providerId="ADAL" clId="{8E78D5C7-540C-4C79-A382-5D3B51477800}" dt="2024-06-06T17:58:48.678" v="2361"/>
          <ac:picMkLst>
            <pc:docMk/>
            <pc:sldMk cId="1787597933" sldId="2709"/>
            <ac:picMk id="8" creationId="{21FD04E7-771C-AC39-B212-AC909C50B9CF}"/>
          </ac:picMkLst>
        </pc:picChg>
      </pc:sldChg>
      <pc:sldChg chg="addSp delSp modSp add mod ord replTag delTag">
        <pc:chgData name="Richardson Concha, Luis Enrique" userId="24a26401-76f9-4f62-bb1e-7d6980a282dd" providerId="ADAL" clId="{8E78D5C7-540C-4C79-A382-5D3B51477800}" dt="2024-06-06T21:17:58.497" v="2998"/>
        <pc:sldMkLst>
          <pc:docMk/>
          <pc:sldMk cId="1866197655" sldId="2710"/>
        </pc:sldMkLst>
        <pc:spChg chg="mod ord">
          <ac:chgData name="Richardson Concha, Luis Enrique" userId="24a26401-76f9-4f62-bb1e-7d6980a282dd" providerId="ADAL" clId="{8E78D5C7-540C-4C79-A382-5D3B51477800}" dt="2024-06-06T18:03:06.452" v="2402"/>
          <ac:spMkLst>
            <pc:docMk/>
            <pc:sldMk cId="1866197655" sldId="2710"/>
            <ac:spMk id="17" creationId="{BFBD94C6-FF5E-924E-A4E6-F9CEF0E1FFE5}"/>
          </ac:spMkLst>
        </pc:spChg>
        <pc:spChg chg="mod ord">
          <ac:chgData name="Richardson Concha, Luis Enrique" userId="24a26401-76f9-4f62-bb1e-7d6980a282dd" providerId="ADAL" clId="{8E78D5C7-540C-4C79-A382-5D3B51477800}" dt="2024-06-06T18:03:06.451" v="2400"/>
          <ac:spMkLst>
            <pc:docMk/>
            <pc:sldMk cId="1866197655" sldId="2710"/>
            <ac:spMk id="36" creationId="{F9506A3C-ED6C-864E-946A-28D52CFBE7C1}"/>
          </ac:spMkLst>
        </pc:spChg>
        <pc:graphicFrameChg chg="mod">
          <ac:chgData name="Richardson Concha, Luis Enrique" userId="24a26401-76f9-4f62-bb1e-7d6980a282dd" providerId="ADAL" clId="{8E78D5C7-540C-4C79-A382-5D3B51477800}" dt="2024-06-06T18:03:06.455" v="2408"/>
          <ac:graphicFrameMkLst>
            <pc:docMk/>
            <pc:sldMk cId="1866197655" sldId="2710"/>
            <ac:graphicFrameMk id="6" creationId="{7916D848-0D74-682B-2059-D4867C0BDEEE}"/>
          </ac:graphicFrameMkLst>
        </pc:graphicFrameChg>
        <pc:picChg chg="mod ord">
          <ac:chgData name="Richardson Concha, Luis Enrique" userId="24a26401-76f9-4f62-bb1e-7d6980a282dd" providerId="ADAL" clId="{8E78D5C7-540C-4C79-A382-5D3B51477800}" dt="2024-06-06T18:03:06.452" v="2404"/>
          <ac:picMkLst>
            <pc:docMk/>
            <pc:sldMk cId="1866197655" sldId="2710"/>
            <ac:picMk id="3" creationId="{E326459A-0391-08B7-78AF-F69E865FCF45}"/>
          </ac:picMkLst>
        </pc:picChg>
        <pc:picChg chg="add mod ord modCrop">
          <ac:chgData name="Richardson Concha, Luis Enrique" userId="24a26401-76f9-4f62-bb1e-7d6980a282dd" providerId="ADAL" clId="{8E78D5C7-540C-4C79-A382-5D3B51477800}" dt="2024-06-06T18:03:06.450" v="2396"/>
          <ac:picMkLst>
            <pc:docMk/>
            <pc:sldMk cId="1866197655" sldId="2710"/>
            <ac:picMk id="4" creationId="{F8629B54-58CD-2B72-F34F-AB5E26C29EDF}"/>
          </ac:picMkLst>
        </pc:picChg>
        <pc:picChg chg="del mod ord">
          <ac:chgData name="Richardson Concha, Luis Enrique" userId="24a26401-76f9-4f62-bb1e-7d6980a282dd" providerId="ADAL" clId="{8E78D5C7-540C-4C79-A382-5D3B51477800}" dt="2024-06-06T18:03:07.710" v="2409" actId="478"/>
          <ac:picMkLst>
            <pc:docMk/>
            <pc:sldMk cId="1866197655" sldId="2710"/>
            <ac:picMk id="5" creationId="{00000000-0000-0000-0000-000000000000}"/>
          </ac:picMkLst>
        </pc:picChg>
      </pc:sldChg>
      <pc:sldChg chg="del replTag delTag">
        <pc:chgData name="Richardson Concha, Luis Enrique" userId="24a26401-76f9-4f62-bb1e-7d6980a282dd" providerId="ADAL" clId="{8E78D5C7-540C-4C79-A382-5D3B51477800}" dt="2024-06-05T20:28:34.466" v="257" actId="47"/>
        <pc:sldMkLst>
          <pc:docMk/>
          <pc:sldMk cId="2868442445" sldId="2710"/>
        </pc:sldMkLst>
      </pc:sldChg>
      <pc:sldChg chg="del replTag delTag">
        <pc:chgData name="Richardson Concha, Luis Enrique" userId="24a26401-76f9-4f62-bb1e-7d6980a282dd" providerId="ADAL" clId="{8E78D5C7-540C-4C79-A382-5D3B51477800}" dt="2024-06-05T20:28:35.079" v="262" actId="47"/>
        <pc:sldMkLst>
          <pc:docMk/>
          <pc:sldMk cId="1023869374" sldId="2711"/>
        </pc:sldMkLst>
      </pc:sldChg>
      <pc:sldChg chg="addSp delSp modSp add mod ord replTag delTag">
        <pc:chgData name="Richardson Concha, Luis Enrique" userId="24a26401-76f9-4f62-bb1e-7d6980a282dd" providerId="ADAL" clId="{8E78D5C7-540C-4C79-A382-5D3B51477800}" dt="2024-06-06T21:18:13.554" v="3000"/>
        <pc:sldMkLst>
          <pc:docMk/>
          <pc:sldMk cId="1181429919" sldId="2711"/>
        </pc:sldMkLst>
        <pc:spChg chg="mod">
          <ac:chgData name="Richardson Concha, Luis Enrique" userId="24a26401-76f9-4f62-bb1e-7d6980a282dd" providerId="ADAL" clId="{8E78D5C7-540C-4C79-A382-5D3B51477800}" dt="2024-06-05T21:41:23.828" v="961" actId="33524"/>
          <ac:spMkLst>
            <pc:docMk/>
            <pc:sldMk cId="1181429919" sldId="2711"/>
            <ac:spMk id="36" creationId="{F9506A3C-ED6C-864E-946A-28D52CFBE7C1}"/>
          </ac:spMkLst>
        </pc:spChg>
        <pc:grpChg chg="add mod">
          <ac:chgData name="Richardson Concha, Luis Enrique" userId="24a26401-76f9-4f62-bb1e-7d6980a282dd" providerId="ADAL" clId="{8E78D5C7-540C-4C79-A382-5D3B51477800}" dt="2024-06-06T18:16:23.446" v="2470" actId="1076"/>
          <ac:grpSpMkLst>
            <pc:docMk/>
            <pc:sldMk cId="1181429919" sldId="2711"/>
            <ac:grpSpMk id="4" creationId="{A791C0B7-5F96-12F4-1000-04B27F2DA345}"/>
          </ac:grpSpMkLst>
        </pc:grpChg>
        <pc:picChg chg="add mod">
          <ac:chgData name="Richardson Concha, Luis Enrique" userId="24a26401-76f9-4f62-bb1e-7d6980a282dd" providerId="ADAL" clId="{8E78D5C7-540C-4C79-A382-5D3B51477800}" dt="2024-06-06T18:16:23.446" v="2470" actId="1076"/>
          <ac:picMkLst>
            <pc:docMk/>
            <pc:sldMk cId="1181429919" sldId="2711"/>
            <ac:picMk id="2" creationId="{8CFA7EA3-6F17-7C23-ACFC-8369B1816B92}"/>
          </ac:picMkLst>
        </pc:picChg>
        <pc:picChg chg="del">
          <ac:chgData name="Richardson Concha, Luis Enrique" userId="24a26401-76f9-4f62-bb1e-7d6980a282dd" providerId="ADAL" clId="{8E78D5C7-540C-4C79-A382-5D3B51477800}" dt="2024-06-06T18:16:08.942" v="2468" actId="478"/>
          <ac:picMkLst>
            <pc:docMk/>
            <pc:sldMk cId="1181429919" sldId="2711"/>
            <ac:picMk id="5" creationId="{00000000-0000-0000-0000-000000000000}"/>
          </ac:picMkLst>
        </pc:picChg>
        <pc:picChg chg="add mod">
          <ac:chgData name="Richardson Concha, Luis Enrique" userId="24a26401-76f9-4f62-bb1e-7d6980a282dd" providerId="ADAL" clId="{8E78D5C7-540C-4C79-A382-5D3B51477800}" dt="2024-06-06T18:16:23.446" v="2470" actId="1076"/>
          <ac:picMkLst>
            <pc:docMk/>
            <pc:sldMk cId="1181429919" sldId="2711"/>
            <ac:picMk id="4098" creationId="{791036D2-4313-F640-8474-D1168D285645}"/>
          </ac:picMkLst>
        </pc:picChg>
      </pc:sldChg>
      <pc:sldChg chg="addSp delSp modSp add mod replTag delTag">
        <pc:chgData name="Richardson Concha, Luis Enrique" userId="24a26401-76f9-4f62-bb1e-7d6980a282dd" providerId="ADAL" clId="{8E78D5C7-540C-4C79-A382-5D3B51477800}" dt="2024-06-06T21:18:15.412" v="3002"/>
        <pc:sldMkLst>
          <pc:docMk/>
          <pc:sldMk cId="513896579" sldId="2712"/>
        </pc:sldMkLst>
        <pc:spChg chg="mod ord">
          <ac:chgData name="Richardson Concha, Luis Enrique" userId="24a26401-76f9-4f62-bb1e-7d6980a282dd" providerId="ADAL" clId="{8E78D5C7-540C-4C79-A382-5D3B51477800}" dt="2024-06-06T18:05:44.251" v="2450"/>
          <ac:spMkLst>
            <pc:docMk/>
            <pc:sldMk cId="513896579" sldId="2712"/>
            <ac:spMk id="17" creationId="{BFBD94C6-FF5E-924E-A4E6-F9CEF0E1FFE5}"/>
          </ac:spMkLst>
        </pc:spChg>
        <pc:spChg chg="mod ord">
          <ac:chgData name="Richardson Concha, Luis Enrique" userId="24a26401-76f9-4f62-bb1e-7d6980a282dd" providerId="ADAL" clId="{8E78D5C7-540C-4C79-A382-5D3B51477800}" dt="2024-06-06T18:05:44.250" v="2448"/>
          <ac:spMkLst>
            <pc:docMk/>
            <pc:sldMk cId="513896579" sldId="2712"/>
            <ac:spMk id="36" creationId="{F9506A3C-ED6C-864E-946A-28D52CFBE7C1}"/>
          </ac:spMkLst>
        </pc:spChg>
        <pc:graphicFrameChg chg="mod">
          <ac:chgData name="Richardson Concha, Luis Enrique" userId="24a26401-76f9-4f62-bb1e-7d6980a282dd" providerId="ADAL" clId="{8E78D5C7-540C-4C79-A382-5D3B51477800}" dt="2024-06-06T18:05:44.254" v="2456"/>
          <ac:graphicFrameMkLst>
            <pc:docMk/>
            <pc:sldMk cId="513896579" sldId="2712"/>
            <ac:graphicFrameMk id="6" creationId="{7916D848-0D74-682B-2059-D4867C0BDEEE}"/>
          </ac:graphicFrameMkLst>
        </pc:graphicFrameChg>
        <pc:picChg chg="mod ord">
          <ac:chgData name="Richardson Concha, Luis Enrique" userId="24a26401-76f9-4f62-bb1e-7d6980a282dd" providerId="ADAL" clId="{8E78D5C7-540C-4C79-A382-5D3B51477800}" dt="2024-06-06T18:05:44.251" v="2452"/>
          <ac:picMkLst>
            <pc:docMk/>
            <pc:sldMk cId="513896579" sldId="2712"/>
            <ac:picMk id="3" creationId="{E326459A-0391-08B7-78AF-F69E865FCF45}"/>
          </ac:picMkLst>
        </pc:picChg>
        <pc:picChg chg="add mod ord modCrop">
          <ac:chgData name="Richardson Concha, Luis Enrique" userId="24a26401-76f9-4f62-bb1e-7d6980a282dd" providerId="ADAL" clId="{8E78D5C7-540C-4C79-A382-5D3B51477800}" dt="2024-06-06T18:05:44.249" v="2444"/>
          <ac:picMkLst>
            <pc:docMk/>
            <pc:sldMk cId="513896579" sldId="2712"/>
            <ac:picMk id="4" creationId="{D7E9949E-072B-937E-7C23-8EBEA3BFD27D}"/>
          </ac:picMkLst>
        </pc:picChg>
        <pc:picChg chg="del mod ord">
          <ac:chgData name="Richardson Concha, Luis Enrique" userId="24a26401-76f9-4f62-bb1e-7d6980a282dd" providerId="ADAL" clId="{8E78D5C7-540C-4C79-A382-5D3B51477800}" dt="2024-06-06T18:05:45.857" v="2457" actId="478"/>
          <ac:picMkLst>
            <pc:docMk/>
            <pc:sldMk cId="513896579" sldId="2712"/>
            <ac:picMk id="5" creationId="{00000000-0000-0000-0000-000000000000}"/>
          </ac:picMkLst>
        </pc:picChg>
      </pc:sldChg>
      <pc:sldChg chg="del replTag delTag">
        <pc:chgData name="Richardson Concha, Luis Enrique" userId="24a26401-76f9-4f62-bb1e-7d6980a282dd" providerId="ADAL" clId="{8E78D5C7-540C-4C79-A382-5D3B51477800}" dt="2024-06-05T20:28:35.772" v="267" actId="47"/>
        <pc:sldMkLst>
          <pc:docMk/>
          <pc:sldMk cId="3788147483" sldId="2712"/>
        </pc:sldMkLst>
      </pc:sldChg>
      <pc:sldChg chg="del replTag delTag">
        <pc:chgData name="Richardson Concha, Luis Enrique" userId="24a26401-76f9-4f62-bb1e-7d6980a282dd" providerId="ADAL" clId="{8E78D5C7-540C-4C79-A382-5D3B51477800}" dt="2024-06-05T20:28:39.734" v="272" actId="47"/>
        <pc:sldMkLst>
          <pc:docMk/>
          <pc:sldMk cId="1560505940" sldId="2713"/>
        </pc:sldMkLst>
      </pc:sldChg>
      <pc:sldChg chg="addSp delSp modSp add mod replTag delTag">
        <pc:chgData name="Richardson Concha, Luis Enrique" userId="24a26401-76f9-4f62-bb1e-7d6980a282dd" providerId="ADAL" clId="{8E78D5C7-540C-4C79-A382-5D3B51477800}" dt="2024-06-06T21:18:16.174" v="3004"/>
        <pc:sldMkLst>
          <pc:docMk/>
          <pc:sldMk cId="4004145649" sldId="2713"/>
        </pc:sldMkLst>
        <pc:spChg chg="mod ord">
          <ac:chgData name="Richardson Concha, Luis Enrique" userId="24a26401-76f9-4f62-bb1e-7d6980a282dd" providerId="ADAL" clId="{8E78D5C7-540C-4C79-A382-5D3B51477800}" dt="2024-06-06T18:17:36.797" v="2495"/>
          <ac:spMkLst>
            <pc:docMk/>
            <pc:sldMk cId="4004145649" sldId="2713"/>
            <ac:spMk id="17" creationId="{BFBD94C6-FF5E-924E-A4E6-F9CEF0E1FFE5}"/>
          </ac:spMkLst>
        </pc:spChg>
        <pc:spChg chg="mod ord">
          <ac:chgData name="Richardson Concha, Luis Enrique" userId="24a26401-76f9-4f62-bb1e-7d6980a282dd" providerId="ADAL" clId="{8E78D5C7-540C-4C79-A382-5D3B51477800}" dt="2024-06-06T18:17:36.796" v="2493"/>
          <ac:spMkLst>
            <pc:docMk/>
            <pc:sldMk cId="4004145649" sldId="2713"/>
            <ac:spMk id="36" creationId="{F9506A3C-ED6C-864E-946A-28D52CFBE7C1}"/>
          </ac:spMkLst>
        </pc:spChg>
        <pc:graphicFrameChg chg="mod">
          <ac:chgData name="Richardson Concha, Luis Enrique" userId="24a26401-76f9-4f62-bb1e-7d6980a282dd" providerId="ADAL" clId="{8E78D5C7-540C-4C79-A382-5D3B51477800}" dt="2024-06-06T18:17:36.800" v="2501"/>
          <ac:graphicFrameMkLst>
            <pc:docMk/>
            <pc:sldMk cId="4004145649" sldId="2713"/>
            <ac:graphicFrameMk id="6" creationId="{7916D848-0D74-682B-2059-D4867C0BDEEE}"/>
          </ac:graphicFrameMkLst>
        </pc:graphicFrameChg>
        <pc:picChg chg="mod ord">
          <ac:chgData name="Richardson Concha, Luis Enrique" userId="24a26401-76f9-4f62-bb1e-7d6980a282dd" providerId="ADAL" clId="{8E78D5C7-540C-4C79-A382-5D3B51477800}" dt="2024-06-06T18:17:36.797" v="2497"/>
          <ac:picMkLst>
            <pc:docMk/>
            <pc:sldMk cId="4004145649" sldId="2713"/>
            <ac:picMk id="3" creationId="{E326459A-0391-08B7-78AF-F69E865FCF45}"/>
          </ac:picMkLst>
        </pc:picChg>
        <pc:picChg chg="del mod ord">
          <ac:chgData name="Richardson Concha, Luis Enrique" userId="24a26401-76f9-4f62-bb1e-7d6980a282dd" providerId="ADAL" clId="{8E78D5C7-540C-4C79-A382-5D3B51477800}" dt="2024-06-06T18:17:38.142" v="2502" actId="478"/>
          <ac:picMkLst>
            <pc:docMk/>
            <pc:sldMk cId="4004145649" sldId="2713"/>
            <ac:picMk id="5" creationId="{00000000-0000-0000-0000-000000000000}"/>
          </ac:picMkLst>
        </pc:picChg>
        <pc:picChg chg="add mod">
          <ac:chgData name="Richardson Concha, Luis Enrique" userId="24a26401-76f9-4f62-bb1e-7d6980a282dd" providerId="ADAL" clId="{8E78D5C7-540C-4C79-A382-5D3B51477800}" dt="2024-06-06T18:17:36.795" v="2489"/>
          <ac:picMkLst>
            <pc:docMk/>
            <pc:sldMk cId="4004145649" sldId="2713"/>
            <ac:picMk id="5122" creationId="{1E258EEC-9FF0-30CB-9ED6-F058FAAEB2D6}"/>
          </ac:picMkLst>
        </pc:picChg>
      </pc:sldChg>
      <pc:sldChg chg="del replTag delTag">
        <pc:chgData name="Richardson Concha, Luis Enrique" userId="24a26401-76f9-4f62-bb1e-7d6980a282dd" providerId="ADAL" clId="{8E78D5C7-540C-4C79-A382-5D3B51477800}" dt="2024-06-05T20:28:40.364" v="277" actId="47"/>
        <pc:sldMkLst>
          <pc:docMk/>
          <pc:sldMk cId="907430805" sldId="2714"/>
        </pc:sldMkLst>
      </pc:sldChg>
      <pc:sldChg chg="addSp delSp modSp add mod ord replTag delTag">
        <pc:chgData name="Richardson Concha, Luis Enrique" userId="24a26401-76f9-4f62-bb1e-7d6980a282dd" providerId="ADAL" clId="{8E78D5C7-540C-4C79-A382-5D3B51477800}" dt="2024-06-06T21:18:19.449" v="3008"/>
        <pc:sldMkLst>
          <pc:docMk/>
          <pc:sldMk cId="1609023265" sldId="2714"/>
        </pc:sldMkLst>
        <pc:spChg chg="mod ord">
          <ac:chgData name="Richardson Concha, Luis Enrique" userId="24a26401-76f9-4f62-bb1e-7d6980a282dd" providerId="ADAL" clId="{8E78D5C7-540C-4C79-A382-5D3B51477800}" dt="2024-06-06T18:20:35.293" v="2533"/>
          <ac:spMkLst>
            <pc:docMk/>
            <pc:sldMk cId="1609023265" sldId="2714"/>
            <ac:spMk id="17" creationId="{BFBD94C6-FF5E-924E-A4E6-F9CEF0E1FFE5}"/>
          </ac:spMkLst>
        </pc:spChg>
        <pc:spChg chg="mod ord">
          <ac:chgData name="Richardson Concha, Luis Enrique" userId="24a26401-76f9-4f62-bb1e-7d6980a282dd" providerId="ADAL" clId="{8E78D5C7-540C-4C79-A382-5D3B51477800}" dt="2024-06-06T18:20:35.292" v="2531"/>
          <ac:spMkLst>
            <pc:docMk/>
            <pc:sldMk cId="1609023265" sldId="2714"/>
            <ac:spMk id="36" creationId="{F9506A3C-ED6C-864E-946A-28D52CFBE7C1}"/>
          </ac:spMkLst>
        </pc:spChg>
        <pc:graphicFrameChg chg="mod">
          <ac:chgData name="Richardson Concha, Luis Enrique" userId="24a26401-76f9-4f62-bb1e-7d6980a282dd" providerId="ADAL" clId="{8E78D5C7-540C-4C79-A382-5D3B51477800}" dt="2024-06-06T18:20:35.296" v="2539"/>
          <ac:graphicFrameMkLst>
            <pc:docMk/>
            <pc:sldMk cId="1609023265" sldId="2714"/>
            <ac:graphicFrameMk id="6" creationId="{7916D848-0D74-682B-2059-D4867C0BDEEE}"/>
          </ac:graphicFrameMkLst>
        </pc:graphicFrameChg>
        <pc:picChg chg="mod ord">
          <ac:chgData name="Richardson Concha, Luis Enrique" userId="24a26401-76f9-4f62-bb1e-7d6980a282dd" providerId="ADAL" clId="{8E78D5C7-540C-4C79-A382-5D3B51477800}" dt="2024-06-06T18:20:35.293" v="2535"/>
          <ac:picMkLst>
            <pc:docMk/>
            <pc:sldMk cId="1609023265" sldId="2714"/>
            <ac:picMk id="3" creationId="{E326459A-0391-08B7-78AF-F69E865FCF45}"/>
          </ac:picMkLst>
        </pc:picChg>
        <pc:picChg chg="del mod ord">
          <ac:chgData name="Richardson Concha, Luis Enrique" userId="24a26401-76f9-4f62-bb1e-7d6980a282dd" providerId="ADAL" clId="{8E78D5C7-540C-4C79-A382-5D3B51477800}" dt="2024-06-06T18:20:36.686" v="2540" actId="478"/>
          <ac:picMkLst>
            <pc:docMk/>
            <pc:sldMk cId="1609023265" sldId="2714"/>
            <ac:picMk id="5" creationId="{00000000-0000-0000-0000-000000000000}"/>
          </ac:picMkLst>
        </pc:picChg>
        <pc:picChg chg="add mod">
          <ac:chgData name="Richardson Concha, Luis Enrique" userId="24a26401-76f9-4f62-bb1e-7d6980a282dd" providerId="ADAL" clId="{8E78D5C7-540C-4C79-A382-5D3B51477800}" dt="2024-06-06T18:20:35.291" v="2527"/>
          <ac:picMkLst>
            <pc:docMk/>
            <pc:sldMk cId="1609023265" sldId="2714"/>
            <ac:picMk id="6146" creationId="{16F75018-C5A9-CDD9-AF2D-596B5A63472B}"/>
          </ac:picMkLst>
        </pc:picChg>
      </pc:sldChg>
      <pc:sldChg chg="addSp delSp modSp add mod ord replTag delTag">
        <pc:chgData name="Richardson Concha, Luis Enrique" userId="24a26401-76f9-4f62-bb1e-7d6980a282dd" providerId="ADAL" clId="{8E78D5C7-540C-4C79-A382-5D3B51477800}" dt="2024-06-06T21:19:21.029" v="3010"/>
        <pc:sldMkLst>
          <pc:docMk/>
          <pc:sldMk cId="2831020269" sldId="2715"/>
        </pc:sldMkLst>
        <pc:spChg chg="mod ord">
          <ac:chgData name="Richardson Concha, Luis Enrique" userId="24a26401-76f9-4f62-bb1e-7d6980a282dd" providerId="ADAL" clId="{8E78D5C7-540C-4C79-A382-5D3B51477800}" dt="2024-06-06T18:23:56.148" v="2561"/>
          <ac:spMkLst>
            <pc:docMk/>
            <pc:sldMk cId="2831020269" sldId="2715"/>
            <ac:spMk id="17" creationId="{BFBD94C6-FF5E-924E-A4E6-F9CEF0E1FFE5}"/>
          </ac:spMkLst>
        </pc:spChg>
        <pc:spChg chg="mod ord">
          <ac:chgData name="Richardson Concha, Luis Enrique" userId="24a26401-76f9-4f62-bb1e-7d6980a282dd" providerId="ADAL" clId="{8E78D5C7-540C-4C79-A382-5D3B51477800}" dt="2024-06-06T18:23:56.147" v="2559"/>
          <ac:spMkLst>
            <pc:docMk/>
            <pc:sldMk cId="2831020269" sldId="2715"/>
            <ac:spMk id="36" creationId="{F9506A3C-ED6C-864E-946A-28D52CFBE7C1}"/>
          </ac:spMkLst>
        </pc:spChg>
        <pc:graphicFrameChg chg="mod">
          <ac:chgData name="Richardson Concha, Luis Enrique" userId="24a26401-76f9-4f62-bb1e-7d6980a282dd" providerId="ADAL" clId="{8E78D5C7-540C-4C79-A382-5D3B51477800}" dt="2024-06-06T18:23:56.151" v="2567"/>
          <ac:graphicFrameMkLst>
            <pc:docMk/>
            <pc:sldMk cId="2831020269" sldId="2715"/>
            <ac:graphicFrameMk id="6" creationId="{7916D848-0D74-682B-2059-D4867C0BDEEE}"/>
          </ac:graphicFrameMkLst>
        </pc:graphicFrameChg>
        <pc:picChg chg="mod ord">
          <ac:chgData name="Richardson Concha, Luis Enrique" userId="24a26401-76f9-4f62-bb1e-7d6980a282dd" providerId="ADAL" clId="{8E78D5C7-540C-4C79-A382-5D3B51477800}" dt="2024-06-06T18:23:56.148" v="2563"/>
          <ac:picMkLst>
            <pc:docMk/>
            <pc:sldMk cId="2831020269" sldId="2715"/>
            <ac:picMk id="3" creationId="{E326459A-0391-08B7-78AF-F69E865FCF45}"/>
          </ac:picMkLst>
        </pc:picChg>
        <pc:picChg chg="add mod ord modCrop">
          <ac:chgData name="Richardson Concha, Luis Enrique" userId="24a26401-76f9-4f62-bb1e-7d6980a282dd" providerId="ADAL" clId="{8E78D5C7-540C-4C79-A382-5D3B51477800}" dt="2024-06-06T18:23:56.146" v="2555"/>
          <ac:picMkLst>
            <pc:docMk/>
            <pc:sldMk cId="2831020269" sldId="2715"/>
            <ac:picMk id="4" creationId="{BD7A5D5F-32EB-C02B-9D53-7190B64DA9F9}"/>
          </ac:picMkLst>
        </pc:picChg>
        <pc:picChg chg="del mod ord">
          <ac:chgData name="Richardson Concha, Luis Enrique" userId="24a26401-76f9-4f62-bb1e-7d6980a282dd" providerId="ADAL" clId="{8E78D5C7-540C-4C79-A382-5D3B51477800}" dt="2024-06-06T18:23:57.452" v="2568" actId="478"/>
          <ac:picMkLst>
            <pc:docMk/>
            <pc:sldMk cId="2831020269" sldId="2715"/>
            <ac:picMk id="5" creationId="{00000000-0000-0000-0000-000000000000}"/>
          </ac:picMkLst>
        </pc:picChg>
      </pc:sldChg>
      <pc:sldChg chg="del replTag delTag">
        <pc:chgData name="Richardson Concha, Luis Enrique" userId="24a26401-76f9-4f62-bb1e-7d6980a282dd" providerId="ADAL" clId="{8E78D5C7-540C-4C79-A382-5D3B51477800}" dt="2024-06-05T20:28:40.992" v="282" actId="47"/>
        <pc:sldMkLst>
          <pc:docMk/>
          <pc:sldMk cId="2986248088" sldId="2715"/>
        </pc:sldMkLst>
      </pc:sldChg>
      <pc:sldChg chg="addSp delSp modSp add mod ord replTag delTag">
        <pc:chgData name="Richardson Concha, Luis Enrique" userId="24a26401-76f9-4f62-bb1e-7d6980a282dd" providerId="ADAL" clId="{8E78D5C7-540C-4C79-A382-5D3B51477800}" dt="2024-06-06T21:19:24.814" v="3014"/>
        <pc:sldMkLst>
          <pc:docMk/>
          <pc:sldMk cId="657771450" sldId="2716"/>
        </pc:sldMkLst>
        <pc:spChg chg="mod ord">
          <ac:chgData name="Richardson Concha, Luis Enrique" userId="24a26401-76f9-4f62-bb1e-7d6980a282dd" providerId="ADAL" clId="{8E78D5C7-540C-4C79-A382-5D3B51477800}" dt="2024-06-06T17:53:15.595" v="2276"/>
          <ac:spMkLst>
            <pc:docMk/>
            <pc:sldMk cId="657771450" sldId="2716"/>
            <ac:spMk id="17" creationId="{BFBD94C6-FF5E-924E-A4E6-F9CEF0E1FFE5}"/>
          </ac:spMkLst>
        </pc:spChg>
        <pc:spChg chg="mod ord">
          <ac:chgData name="Richardson Concha, Luis Enrique" userId="24a26401-76f9-4f62-bb1e-7d6980a282dd" providerId="ADAL" clId="{8E78D5C7-540C-4C79-A382-5D3B51477800}" dt="2024-06-06T17:53:15.594" v="2274"/>
          <ac:spMkLst>
            <pc:docMk/>
            <pc:sldMk cId="657771450" sldId="2716"/>
            <ac:spMk id="36" creationId="{F9506A3C-ED6C-864E-946A-28D52CFBE7C1}"/>
          </ac:spMkLst>
        </pc:spChg>
        <pc:graphicFrameChg chg="mod">
          <ac:chgData name="Richardson Concha, Luis Enrique" userId="24a26401-76f9-4f62-bb1e-7d6980a282dd" providerId="ADAL" clId="{8E78D5C7-540C-4C79-A382-5D3B51477800}" dt="2024-06-06T17:53:15.599" v="2282"/>
          <ac:graphicFrameMkLst>
            <pc:docMk/>
            <pc:sldMk cId="657771450" sldId="2716"/>
            <ac:graphicFrameMk id="6" creationId="{7916D848-0D74-682B-2059-D4867C0BDEEE}"/>
          </ac:graphicFrameMkLst>
        </pc:graphicFrameChg>
        <pc:picChg chg="mod ord">
          <ac:chgData name="Richardson Concha, Luis Enrique" userId="24a26401-76f9-4f62-bb1e-7d6980a282dd" providerId="ADAL" clId="{8E78D5C7-540C-4C79-A382-5D3B51477800}" dt="2024-06-06T17:53:15.595" v="2278"/>
          <ac:picMkLst>
            <pc:docMk/>
            <pc:sldMk cId="657771450" sldId="2716"/>
            <ac:picMk id="3" creationId="{E326459A-0391-08B7-78AF-F69E865FCF45}"/>
          </ac:picMkLst>
        </pc:picChg>
        <pc:picChg chg="add mod ord modCrop">
          <ac:chgData name="Richardson Concha, Luis Enrique" userId="24a26401-76f9-4f62-bb1e-7d6980a282dd" providerId="ADAL" clId="{8E78D5C7-540C-4C79-A382-5D3B51477800}" dt="2024-06-06T17:53:15.593" v="2270"/>
          <ac:picMkLst>
            <pc:docMk/>
            <pc:sldMk cId="657771450" sldId="2716"/>
            <ac:picMk id="4" creationId="{8BE2193D-2662-AB23-F30A-8AD4065D1C83}"/>
          </ac:picMkLst>
        </pc:picChg>
        <pc:picChg chg="del mod ord">
          <ac:chgData name="Richardson Concha, Luis Enrique" userId="24a26401-76f9-4f62-bb1e-7d6980a282dd" providerId="ADAL" clId="{8E78D5C7-540C-4C79-A382-5D3B51477800}" dt="2024-06-06T17:53:16.946" v="2283" actId="478"/>
          <ac:picMkLst>
            <pc:docMk/>
            <pc:sldMk cId="657771450" sldId="2716"/>
            <ac:picMk id="5" creationId="{00000000-0000-0000-0000-000000000000}"/>
          </ac:picMkLst>
        </pc:picChg>
      </pc:sldChg>
      <pc:sldChg chg="del replTag delTag">
        <pc:chgData name="Richardson Concha, Luis Enrique" userId="24a26401-76f9-4f62-bb1e-7d6980a282dd" providerId="ADAL" clId="{8E78D5C7-540C-4C79-A382-5D3B51477800}" dt="2024-06-05T20:28:41.565" v="287" actId="47"/>
        <pc:sldMkLst>
          <pc:docMk/>
          <pc:sldMk cId="1126120352" sldId="2716"/>
        </pc:sldMkLst>
      </pc:sldChg>
      <pc:sldChg chg="del replTag delTag">
        <pc:chgData name="Richardson Concha, Luis Enrique" userId="24a26401-76f9-4f62-bb1e-7d6980a282dd" providerId="ADAL" clId="{8E78D5C7-540C-4C79-A382-5D3B51477800}" dt="2024-06-05T20:28:42.177" v="292" actId="47"/>
        <pc:sldMkLst>
          <pc:docMk/>
          <pc:sldMk cId="1789406642" sldId="2717"/>
        </pc:sldMkLst>
      </pc:sldChg>
      <pc:sldChg chg="addSp delSp modSp add mod ord replTag delTag">
        <pc:chgData name="Richardson Concha, Luis Enrique" userId="24a26401-76f9-4f62-bb1e-7d6980a282dd" providerId="ADAL" clId="{8E78D5C7-540C-4C79-A382-5D3B51477800}" dt="2024-06-06T21:20:32.692" v="3016"/>
        <pc:sldMkLst>
          <pc:docMk/>
          <pc:sldMk cId="2160954053" sldId="2717"/>
        </pc:sldMkLst>
        <pc:spChg chg="mod ord">
          <ac:chgData name="Richardson Concha, Luis Enrique" userId="24a26401-76f9-4f62-bb1e-7d6980a282dd" providerId="ADAL" clId="{8E78D5C7-540C-4C79-A382-5D3B51477800}" dt="2024-06-06T18:25:09.789" v="2588"/>
          <ac:spMkLst>
            <pc:docMk/>
            <pc:sldMk cId="2160954053" sldId="2717"/>
            <ac:spMk id="17" creationId="{BFBD94C6-FF5E-924E-A4E6-F9CEF0E1FFE5}"/>
          </ac:spMkLst>
        </pc:spChg>
        <pc:spChg chg="mod ord">
          <ac:chgData name="Richardson Concha, Luis Enrique" userId="24a26401-76f9-4f62-bb1e-7d6980a282dd" providerId="ADAL" clId="{8E78D5C7-540C-4C79-A382-5D3B51477800}" dt="2024-06-06T18:25:09.788" v="2586"/>
          <ac:spMkLst>
            <pc:docMk/>
            <pc:sldMk cId="2160954053" sldId="2717"/>
            <ac:spMk id="36" creationId="{F9506A3C-ED6C-864E-946A-28D52CFBE7C1}"/>
          </ac:spMkLst>
        </pc:spChg>
        <pc:graphicFrameChg chg="mod">
          <ac:chgData name="Richardson Concha, Luis Enrique" userId="24a26401-76f9-4f62-bb1e-7d6980a282dd" providerId="ADAL" clId="{8E78D5C7-540C-4C79-A382-5D3B51477800}" dt="2024-06-06T18:25:09.792" v="2594"/>
          <ac:graphicFrameMkLst>
            <pc:docMk/>
            <pc:sldMk cId="2160954053" sldId="2717"/>
            <ac:graphicFrameMk id="6" creationId="{7916D848-0D74-682B-2059-D4867C0BDEEE}"/>
          </ac:graphicFrameMkLst>
        </pc:graphicFrameChg>
        <pc:picChg chg="mod ord">
          <ac:chgData name="Richardson Concha, Luis Enrique" userId="24a26401-76f9-4f62-bb1e-7d6980a282dd" providerId="ADAL" clId="{8E78D5C7-540C-4C79-A382-5D3B51477800}" dt="2024-06-06T18:25:09.789" v="2590"/>
          <ac:picMkLst>
            <pc:docMk/>
            <pc:sldMk cId="2160954053" sldId="2717"/>
            <ac:picMk id="3" creationId="{E326459A-0391-08B7-78AF-F69E865FCF45}"/>
          </ac:picMkLst>
        </pc:picChg>
        <pc:picChg chg="add mod ord modCrop">
          <ac:chgData name="Richardson Concha, Luis Enrique" userId="24a26401-76f9-4f62-bb1e-7d6980a282dd" providerId="ADAL" clId="{8E78D5C7-540C-4C79-A382-5D3B51477800}" dt="2024-06-06T18:25:09.787" v="2582"/>
          <ac:picMkLst>
            <pc:docMk/>
            <pc:sldMk cId="2160954053" sldId="2717"/>
            <ac:picMk id="4" creationId="{C2B86E0F-9E9F-E2B2-A23A-5B513CC2FB06}"/>
          </ac:picMkLst>
        </pc:picChg>
        <pc:picChg chg="del mod ord">
          <ac:chgData name="Richardson Concha, Luis Enrique" userId="24a26401-76f9-4f62-bb1e-7d6980a282dd" providerId="ADAL" clId="{8E78D5C7-540C-4C79-A382-5D3B51477800}" dt="2024-06-06T18:25:10.958" v="2595" actId="478"/>
          <ac:picMkLst>
            <pc:docMk/>
            <pc:sldMk cId="2160954053" sldId="2717"/>
            <ac:picMk id="5" creationId="{00000000-0000-0000-0000-000000000000}"/>
          </ac:picMkLst>
        </pc:picChg>
      </pc:sldChg>
      <pc:sldChg chg="del replTag delTag">
        <pc:chgData name="Richardson Concha, Luis Enrique" userId="24a26401-76f9-4f62-bb1e-7d6980a282dd" providerId="ADAL" clId="{8E78D5C7-540C-4C79-A382-5D3B51477800}" dt="2024-06-05T20:28:42.911" v="297" actId="47"/>
        <pc:sldMkLst>
          <pc:docMk/>
          <pc:sldMk cId="348331493" sldId="2718"/>
        </pc:sldMkLst>
      </pc:sldChg>
      <pc:sldChg chg="addSp delSp modSp add mod ord replTag delTag">
        <pc:chgData name="Richardson Concha, Luis Enrique" userId="24a26401-76f9-4f62-bb1e-7d6980a282dd" providerId="ADAL" clId="{8E78D5C7-540C-4C79-A382-5D3B51477800}" dt="2024-06-06T21:20:39.971" v="3021" actId="20577"/>
        <pc:sldMkLst>
          <pc:docMk/>
          <pc:sldMk cId="1103997679" sldId="2718"/>
        </pc:sldMkLst>
        <pc:spChg chg="mod ord">
          <ac:chgData name="Richardson Concha, Luis Enrique" userId="24a26401-76f9-4f62-bb1e-7d6980a282dd" providerId="ADAL" clId="{8E78D5C7-540C-4C79-A382-5D3B51477800}" dt="2024-06-06T17:55:30.135" v="2304"/>
          <ac:spMkLst>
            <pc:docMk/>
            <pc:sldMk cId="1103997679" sldId="2718"/>
            <ac:spMk id="17" creationId="{BFBD94C6-FF5E-924E-A4E6-F9CEF0E1FFE5}"/>
          </ac:spMkLst>
        </pc:spChg>
        <pc:spChg chg="mod ord">
          <ac:chgData name="Richardson Concha, Luis Enrique" userId="24a26401-76f9-4f62-bb1e-7d6980a282dd" providerId="ADAL" clId="{8E78D5C7-540C-4C79-A382-5D3B51477800}" dt="2024-06-06T21:20:39.971" v="3021" actId="20577"/>
          <ac:spMkLst>
            <pc:docMk/>
            <pc:sldMk cId="1103997679" sldId="2718"/>
            <ac:spMk id="36" creationId="{F9506A3C-ED6C-864E-946A-28D52CFBE7C1}"/>
          </ac:spMkLst>
        </pc:spChg>
        <pc:graphicFrameChg chg="mod">
          <ac:chgData name="Richardson Concha, Luis Enrique" userId="24a26401-76f9-4f62-bb1e-7d6980a282dd" providerId="ADAL" clId="{8E78D5C7-540C-4C79-A382-5D3B51477800}" dt="2024-06-06T17:55:30.138" v="2310"/>
          <ac:graphicFrameMkLst>
            <pc:docMk/>
            <pc:sldMk cId="1103997679" sldId="2718"/>
            <ac:graphicFrameMk id="6" creationId="{7916D848-0D74-682B-2059-D4867C0BDEEE}"/>
          </ac:graphicFrameMkLst>
        </pc:graphicFrameChg>
        <pc:picChg chg="mod ord">
          <ac:chgData name="Richardson Concha, Luis Enrique" userId="24a26401-76f9-4f62-bb1e-7d6980a282dd" providerId="ADAL" clId="{8E78D5C7-540C-4C79-A382-5D3B51477800}" dt="2024-06-06T17:55:30.135" v="2306"/>
          <ac:picMkLst>
            <pc:docMk/>
            <pc:sldMk cId="1103997679" sldId="2718"/>
            <ac:picMk id="3" creationId="{E326459A-0391-08B7-78AF-F69E865FCF45}"/>
          </ac:picMkLst>
        </pc:picChg>
        <pc:picChg chg="del mod ord">
          <ac:chgData name="Richardson Concha, Luis Enrique" userId="24a26401-76f9-4f62-bb1e-7d6980a282dd" providerId="ADAL" clId="{8E78D5C7-540C-4C79-A382-5D3B51477800}" dt="2024-06-06T17:55:31.536" v="2311" actId="478"/>
          <ac:picMkLst>
            <pc:docMk/>
            <pc:sldMk cId="1103997679" sldId="2718"/>
            <ac:picMk id="5" creationId="{00000000-0000-0000-0000-000000000000}"/>
          </ac:picMkLst>
        </pc:picChg>
        <pc:picChg chg="add mod">
          <ac:chgData name="Richardson Concha, Luis Enrique" userId="24a26401-76f9-4f62-bb1e-7d6980a282dd" providerId="ADAL" clId="{8E78D5C7-540C-4C79-A382-5D3B51477800}" dt="2024-06-06T18:49:09.630" v="2926" actId="1366"/>
          <ac:picMkLst>
            <pc:docMk/>
            <pc:sldMk cId="1103997679" sldId="2718"/>
            <ac:picMk id="3074" creationId="{A70B44A8-3F60-7739-666C-8788076EFC3E}"/>
          </ac:picMkLst>
        </pc:picChg>
      </pc:sldChg>
      <pc:sldChg chg="del replTag delTag">
        <pc:chgData name="Richardson Concha, Luis Enrique" userId="24a26401-76f9-4f62-bb1e-7d6980a282dd" providerId="ADAL" clId="{8E78D5C7-540C-4C79-A382-5D3B51477800}" dt="2024-06-05T20:28:43.516" v="302" actId="47"/>
        <pc:sldMkLst>
          <pc:docMk/>
          <pc:sldMk cId="2946376700" sldId="2719"/>
        </pc:sldMkLst>
      </pc:sldChg>
      <pc:sldChg chg="addSp delSp modSp add mod ord replTag delTag">
        <pc:chgData name="Richardson Concha, Luis Enrique" userId="24a26401-76f9-4f62-bb1e-7d6980a282dd" providerId="ADAL" clId="{8E78D5C7-540C-4C79-A382-5D3B51477800}" dt="2024-06-06T18:49:23.179" v="2937"/>
        <pc:sldMkLst>
          <pc:docMk/>
          <pc:sldMk cId="3198956638" sldId="2719"/>
        </pc:sldMkLst>
        <pc:spChg chg="mod ord">
          <ac:chgData name="Richardson Concha, Luis Enrique" userId="24a26401-76f9-4f62-bb1e-7d6980a282dd" providerId="ADAL" clId="{8E78D5C7-540C-4C79-A382-5D3B51477800}" dt="2024-06-06T18:35:50.916" v="2681"/>
          <ac:spMkLst>
            <pc:docMk/>
            <pc:sldMk cId="3198956638" sldId="2719"/>
            <ac:spMk id="17" creationId="{BFBD94C6-FF5E-924E-A4E6-F9CEF0E1FFE5}"/>
          </ac:spMkLst>
        </pc:spChg>
        <pc:spChg chg="mod ord">
          <ac:chgData name="Richardson Concha, Luis Enrique" userId="24a26401-76f9-4f62-bb1e-7d6980a282dd" providerId="ADAL" clId="{8E78D5C7-540C-4C79-A382-5D3B51477800}" dt="2024-06-06T18:35:50.915" v="2679"/>
          <ac:spMkLst>
            <pc:docMk/>
            <pc:sldMk cId="3198956638" sldId="2719"/>
            <ac:spMk id="36" creationId="{F9506A3C-ED6C-864E-946A-28D52CFBE7C1}"/>
          </ac:spMkLst>
        </pc:spChg>
        <pc:graphicFrameChg chg="mod">
          <ac:chgData name="Richardson Concha, Luis Enrique" userId="24a26401-76f9-4f62-bb1e-7d6980a282dd" providerId="ADAL" clId="{8E78D5C7-540C-4C79-A382-5D3B51477800}" dt="2024-06-06T18:35:50.919" v="2687"/>
          <ac:graphicFrameMkLst>
            <pc:docMk/>
            <pc:sldMk cId="3198956638" sldId="2719"/>
            <ac:graphicFrameMk id="6" creationId="{7916D848-0D74-682B-2059-D4867C0BDEEE}"/>
          </ac:graphicFrameMkLst>
        </pc:graphicFrameChg>
        <pc:picChg chg="mod ord">
          <ac:chgData name="Richardson Concha, Luis Enrique" userId="24a26401-76f9-4f62-bb1e-7d6980a282dd" providerId="ADAL" clId="{8E78D5C7-540C-4C79-A382-5D3B51477800}" dt="2024-06-06T18:35:50.916" v="2683"/>
          <ac:picMkLst>
            <pc:docMk/>
            <pc:sldMk cId="3198956638" sldId="2719"/>
            <ac:picMk id="3" creationId="{E326459A-0391-08B7-78AF-F69E865FCF45}"/>
          </ac:picMkLst>
        </pc:picChg>
        <pc:picChg chg="del mod ord">
          <ac:chgData name="Richardson Concha, Luis Enrique" userId="24a26401-76f9-4f62-bb1e-7d6980a282dd" providerId="ADAL" clId="{8E78D5C7-540C-4C79-A382-5D3B51477800}" dt="2024-06-06T18:35:52.861" v="2688" actId="478"/>
          <ac:picMkLst>
            <pc:docMk/>
            <pc:sldMk cId="3198956638" sldId="2719"/>
            <ac:picMk id="5" creationId="{00000000-0000-0000-0000-000000000000}"/>
          </ac:picMkLst>
        </pc:picChg>
        <pc:picChg chg="add mod">
          <ac:chgData name="Richardson Concha, Luis Enrique" userId="24a26401-76f9-4f62-bb1e-7d6980a282dd" providerId="ADAL" clId="{8E78D5C7-540C-4C79-A382-5D3B51477800}" dt="2024-06-06T18:49:21.231" v="2933"/>
          <ac:picMkLst>
            <pc:docMk/>
            <pc:sldMk cId="3198956638" sldId="2719"/>
            <ac:picMk id="7170" creationId="{4C6F2DD4-9ADB-D522-E1AC-C372C0EF285A}"/>
          </ac:picMkLst>
        </pc:picChg>
      </pc:sldChg>
      <pc:sldChg chg="addSp delSp modSp add mod ord replTag delTag">
        <pc:chgData name="Richardson Concha, Luis Enrique" userId="24a26401-76f9-4f62-bb1e-7d6980a282dd" providerId="ADAL" clId="{8E78D5C7-540C-4C79-A382-5D3B51477800}" dt="2024-06-06T18:30:49.223" v="2658"/>
        <pc:sldMkLst>
          <pc:docMk/>
          <pc:sldMk cId="1208909269" sldId="2720"/>
        </pc:sldMkLst>
        <pc:spChg chg="mod ord">
          <ac:chgData name="Richardson Concha, Luis Enrique" userId="24a26401-76f9-4f62-bb1e-7d6980a282dd" providerId="ADAL" clId="{8E78D5C7-540C-4C79-A382-5D3B51477800}" dt="2024-06-06T18:27:18.220" v="2616"/>
          <ac:spMkLst>
            <pc:docMk/>
            <pc:sldMk cId="1208909269" sldId="2720"/>
            <ac:spMk id="17" creationId="{BFBD94C6-FF5E-924E-A4E6-F9CEF0E1FFE5}"/>
          </ac:spMkLst>
        </pc:spChg>
        <pc:spChg chg="mod ord">
          <ac:chgData name="Richardson Concha, Luis Enrique" userId="24a26401-76f9-4f62-bb1e-7d6980a282dd" providerId="ADAL" clId="{8E78D5C7-540C-4C79-A382-5D3B51477800}" dt="2024-06-06T18:27:18.220" v="2614"/>
          <ac:spMkLst>
            <pc:docMk/>
            <pc:sldMk cId="1208909269" sldId="2720"/>
            <ac:spMk id="36" creationId="{F9506A3C-ED6C-864E-946A-28D52CFBE7C1}"/>
          </ac:spMkLst>
        </pc:spChg>
        <pc:graphicFrameChg chg="mod">
          <ac:chgData name="Richardson Concha, Luis Enrique" userId="24a26401-76f9-4f62-bb1e-7d6980a282dd" providerId="ADAL" clId="{8E78D5C7-540C-4C79-A382-5D3B51477800}" dt="2024-06-06T18:27:18.223" v="2622"/>
          <ac:graphicFrameMkLst>
            <pc:docMk/>
            <pc:sldMk cId="1208909269" sldId="2720"/>
            <ac:graphicFrameMk id="6" creationId="{7916D848-0D74-682B-2059-D4867C0BDEEE}"/>
          </ac:graphicFrameMkLst>
        </pc:graphicFrameChg>
        <pc:picChg chg="mod ord">
          <ac:chgData name="Richardson Concha, Luis Enrique" userId="24a26401-76f9-4f62-bb1e-7d6980a282dd" providerId="ADAL" clId="{8E78D5C7-540C-4C79-A382-5D3B51477800}" dt="2024-06-06T18:27:18.220" v="2618"/>
          <ac:picMkLst>
            <pc:docMk/>
            <pc:sldMk cId="1208909269" sldId="2720"/>
            <ac:picMk id="3" creationId="{E326459A-0391-08B7-78AF-F69E865FCF45}"/>
          </ac:picMkLst>
        </pc:picChg>
        <pc:picChg chg="add mod ord modCrop">
          <ac:chgData name="Richardson Concha, Luis Enrique" userId="24a26401-76f9-4f62-bb1e-7d6980a282dd" providerId="ADAL" clId="{8E78D5C7-540C-4C79-A382-5D3B51477800}" dt="2024-06-06T18:27:18.219" v="2610"/>
          <ac:picMkLst>
            <pc:docMk/>
            <pc:sldMk cId="1208909269" sldId="2720"/>
            <ac:picMk id="4" creationId="{9F31C8ED-3AC5-9891-A13B-B3C9C9132FDF}"/>
          </ac:picMkLst>
        </pc:picChg>
        <pc:picChg chg="del mod ord">
          <ac:chgData name="Richardson Concha, Luis Enrique" userId="24a26401-76f9-4f62-bb1e-7d6980a282dd" providerId="ADAL" clId="{8E78D5C7-540C-4C79-A382-5D3B51477800}" dt="2024-06-06T18:27:19.534" v="2623" actId="478"/>
          <ac:picMkLst>
            <pc:docMk/>
            <pc:sldMk cId="1208909269" sldId="2720"/>
            <ac:picMk id="5" creationId="{00000000-0000-0000-0000-000000000000}"/>
          </ac:picMkLst>
        </pc:picChg>
      </pc:sldChg>
      <pc:sldChg chg="del replTag delTag">
        <pc:chgData name="Richardson Concha, Luis Enrique" userId="24a26401-76f9-4f62-bb1e-7d6980a282dd" providerId="ADAL" clId="{8E78D5C7-540C-4C79-A382-5D3B51477800}" dt="2024-06-05T20:28:44.260" v="307" actId="47"/>
        <pc:sldMkLst>
          <pc:docMk/>
          <pc:sldMk cId="1423717446" sldId="2720"/>
        </pc:sldMkLst>
      </pc:sldChg>
      <pc:sldChg chg="del replTag delTag">
        <pc:chgData name="Richardson Concha, Luis Enrique" userId="24a26401-76f9-4f62-bb1e-7d6980a282dd" providerId="ADAL" clId="{8E78D5C7-540C-4C79-A382-5D3B51477800}" dt="2024-06-05T20:28:44.956" v="312" actId="47"/>
        <pc:sldMkLst>
          <pc:docMk/>
          <pc:sldMk cId="856661537" sldId="2721"/>
        </pc:sldMkLst>
      </pc:sldChg>
      <pc:sldChg chg="addSp delSp modSp add mod ord replTag delTag">
        <pc:chgData name="Richardson Concha, Luis Enrique" userId="24a26401-76f9-4f62-bb1e-7d6980a282dd" providerId="ADAL" clId="{8E78D5C7-540C-4C79-A382-5D3B51477800}" dt="2024-06-06T18:30:49.530" v="2660"/>
        <pc:sldMkLst>
          <pc:docMk/>
          <pc:sldMk cId="3260991967" sldId="2721"/>
        </pc:sldMkLst>
        <pc:spChg chg="mod ord">
          <ac:chgData name="Richardson Concha, Luis Enrique" userId="24a26401-76f9-4f62-bb1e-7d6980a282dd" providerId="ADAL" clId="{8E78D5C7-540C-4C79-A382-5D3B51477800}" dt="2024-06-06T18:30:45.993" v="2649"/>
          <ac:spMkLst>
            <pc:docMk/>
            <pc:sldMk cId="3260991967" sldId="2721"/>
            <ac:spMk id="17" creationId="{BFBD94C6-FF5E-924E-A4E6-F9CEF0E1FFE5}"/>
          </ac:spMkLst>
        </pc:spChg>
        <pc:spChg chg="mod ord">
          <ac:chgData name="Richardson Concha, Luis Enrique" userId="24a26401-76f9-4f62-bb1e-7d6980a282dd" providerId="ADAL" clId="{8E78D5C7-540C-4C79-A382-5D3B51477800}" dt="2024-06-06T18:30:45.993" v="2647"/>
          <ac:spMkLst>
            <pc:docMk/>
            <pc:sldMk cId="3260991967" sldId="2721"/>
            <ac:spMk id="36" creationId="{F9506A3C-ED6C-864E-946A-28D52CFBE7C1}"/>
          </ac:spMkLst>
        </pc:spChg>
        <pc:graphicFrameChg chg="mod">
          <ac:chgData name="Richardson Concha, Luis Enrique" userId="24a26401-76f9-4f62-bb1e-7d6980a282dd" providerId="ADAL" clId="{8E78D5C7-540C-4C79-A382-5D3B51477800}" dt="2024-06-06T18:30:45.997" v="2655"/>
          <ac:graphicFrameMkLst>
            <pc:docMk/>
            <pc:sldMk cId="3260991967" sldId="2721"/>
            <ac:graphicFrameMk id="6" creationId="{7916D848-0D74-682B-2059-D4867C0BDEEE}"/>
          </ac:graphicFrameMkLst>
        </pc:graphicFrameChg>
        <pc:picChg chg="mod ord">
          <ac:chgData name="Richardson Concha, Luis Enrique" userId="24a26401-76f9-4f62-bb1e-7d6980a282dd" providerId="ADAL" clId="{8E78D5C7-540C-4C79-A382-5D3B51477800}" dt="2024-06-06T18:30:45.994" v="2651"/>
          <ac:picMkLst>
            <pc:docMk/>
            <pc:sldMk cId="3260991967" sldId="2721"/>
            <ac:picMk id="3" creationId="{E326459A-0391-08B7-78AF-F69E865FCF45}"/>
          </ac:picMkLst>
        </pc:picChg>
        <pc:picChg chg="add mod ord modCrop">
          <ac:chgData name="Richardson Concha, Luis Enrique" userId="24a26401-76f9-4f62-bb1e-7d6980a282dd" providerId="ADAL" clId="{8E78D5C7-540C-4C79-A382-5D3B51477800}" dt="2024-06-06T18:30:45.992" v="2643"/>
          <ac:picMkLst>
            <pc:docMk/>
            <pc:sldMk cId="3260991967" sldId="2721"/>
            <ac:picMk id="4" creationId="{66E72B45-9D75-2053-4AF0-51F0CC3BBAD9}"/>
          </ac:picMkLst>
        </pc:picChg>
        <pc:picChg chg="del mod ord">
          <ac:chgData name="Richardson Concha, Luis Enrique" userId="24a26401-76f9-4f62-bb1e-7d6980a282dd" providerId="ADAL" clId="{8E78D5C7-540C-4C79-A382-5D3B51477800}" dt="2024-06-06T18:30:47.452" v="2656" actId="478"/>
          <ac:picMkLst>
            <pc:docMk/>
            <pc:sldMk cId="3260991967" sldId="2721"/>
            <ac:picMk id="5" creationId="{00000000-0000-0000-0000-000000000000}"/>
          </ac:picMkLst>
        </pc:picChg>
      </pc:sldChg>
      <pc:sldChg chg="add del replTag delTag">
        <pc:chgData name="Richardson Concha, Luis Enrique" userId="24a26401-76f9-4f62-bb1e-7d6980a282dd" providerId="ADAL" clId="{8E78D5C7-540C-4C79-A382-5D3B51477800}" dt="2024-06-06T14:40:34.943" v="1471" actId="47"/>
        <pc:sldMkLst>
          <pc:docMk/>
          <pc:sldMk cId="968838866" sldId="2722"/>
        </pc:sldMkLst>
      </pc:sldChg>
      <pc:sldChg chg="addSp delSp modSp add mod ord replTag delTag">
        <pc:chgData name="Richardson Concha, Luis Enrique" userId="24a26401-76f9-4f62-bb1e-7d6980a282dd" providerId="ADAL" clId="{8E78D5C7-540C-4C79-A382-5D3B51477800}" dt="2024-06-06T18:39:13.037" v="2718" actId="478"/>
        <pc:sldMkLst>
          <pc:docMk/>
          <pc:sldMk cId="1335027045" sldId="2722"/>
        </pc:sldMkLst>
        <pc:spChg chg="mod ord">
          <ac:chgData name="Richardson Concha, Luis Enrique" userId="24a26401-76f9-4f62-bb1e-7d6980a282dd" providerId="ADAL" clId="{8E78D5C7-540C-4C79-A382-5D3B51477800}" dt="2024-06-06T18:39:11.708" v="2711"/>
          <ac:spMkLst>
            <pc:docMk/>
            <pc:sldMk cId="1335027045" sldId="2722"/>
            <ac:spMk id="17" creationId="{BFBD94C6-FF5E-924E-A4E6-F9CEF0E1FFE5}"/>
          </ac:spMkLst>
        </pc:spChg>
        <pc:spChg chg="mod ord">
          <ac:chgData name="Richardson Concha, Luis Enrique" userId="24a26401-76f9-4f62-bb1e-7d6980a282dd" providerId="ADAL" clId="{8E78D5C7-540C-4C79-A382-5D3B51477800}" dt="2024-06-06T18:39:11.707" v="2709"/>
          <ac:spMkLst>
            <pc:docMk/>
            <pc:sldMk cId="1335027045" sldId="2722"/>
            <ac:spMk id="36" creationId="{F9506A3C-ED6C-864E-946A-28D52CFBE7C1}"/>
          </ac:spMkLst>
        </pc:spChg>
        <pc:graphicFrameChg chg="mod">
          <ac:chgData name="Richardson Concha, Luis Enrique" userId="24a26401-76f9-4f62-bb1e-7d6980a282dd" providerId="ADAL" clId="{8E78D5C7-540C-4C79-A382-5D3B51477800}" dt="2024-06-06T18:39:11.711" v="2717"/>
          <ac:graphicFrameMkLst>
            <pc:docMk/>
            <pc:sldMk cId="1335027045" sldId="2722"/>
            <ac:graphicFrameMk id="6" creationId="{7916D848-0D74-682B-2059-D4867C0BDEEE}"/>
          </ac:graphicFrameMkLst>
        </pc:graphicFrameChg>
        <pc:picChg chg="mod ord">
          <ac:chgData name="Richardson Concha, Luis Enrique" userId="24a26401-76f9-4f62-bb1e-7d6980a282dd" providerId="ADAL" clId="{8E78D5C7-540C-4C79-A382-5D3B51477800}" dt="2024-06-06T18:39:11.708" v="2713"/>
          <ac:picMkLst>
            <pc:docMk/>
            <pc:sldMk cId="1335027045" sldId="2722"/>
            <ac:picMk id="3" creationId="{E326459A-0391-08B7-78AF-F69E865FCF45}"/>
          </ac:picMkLst>
        </pc:picChg>
        <pc:picChg chg="del mod ord">
          <ac:chgData name="Richardson Concha, Luis Enrique" userId="24a26401-76f9-4f62-bb1e-7d6980a282dd" providerId="ADAL" clId="{8E78D5C7-540C-4C79-A382-5D3B51477800}" dt="2024-06-06T18:39:13.037" v="2718" actId="478"/>
          <ac:picMkLst>
            <pc:docMk/>
            <pc:sldMk cId="1335027045" sldId="2722"/>
            <ac:picMk id="5" creationId="{00000000-0000-0000-0000-000000000000}"/>
          </ac:picMkLst>
        </pc:picChg>
        <pc:picChg chg="add mod">
          <ac:chgData name="Richardson Concha, Luis Enrique" userId="24a26401-76f9-4f62-bb1e-7d6980a282dd" providerId="ADAL" clId="{8E78D5C7-540C-4C79-A382-5D3B51477800}" dt="2024-06-06T18:39:11.706" v="2705"/>
          <ac:picMkLst>
            <pc:docMk/>
            <pc:sldMk cId="1335027045" sldId="2722"/>
            <ac:picMk id="8194" creationId="{9728FE0D-3038-A644-F110-FCE05F6FB6C7}"/>
          </ac:picMkLst>
        </pc:picChg>
      </pc:sldChg>
      <pc:sldChg chg="addSp delSp modSp add mod ord replTag delTag">
        <pc:chgData name="Richardson Concha, Luis Enrique" userId="24a26401-76f9-4f62-bb1e-7d6980a282dd" providerId="ADAL" clId="{8E78D5C7-540C-4C79-A382-5D3B51477800}" dt="2024-06-06T18:40:52.957" v="2748" actId="478"/>
        <pc:sldMkLst>
          <pc:docMk/>
          <pc:sldMk cId="2826823492" sldId="2723"/>
        </pc:sldMkLst>
        <pc:spChg chg="mod ord">
          <ac:chgData name="Richardson Concha, Luis Enrique" userId="24a26401-76f9-4f62-bb1e-7d6980a282dd" providerId="ADAL" clId="{8E78D5C7-540C-4C79-A382-5D3B51477800}" dt="2024-06-06T18:40:51.570" v="2741"/>
          <ac:spMkLst>
            <pc:docMk/>
            <pc:sldMk cId="2826823492" sldId="2723"/>
            <ac:spMk id="17" creationId="{BFBD94C6-FF5E-924E-A4E6-F9CEF0E1FFE5}"/>
          </ac:spMkLst>
        </pc:spChg>
        <pc:spChg chg="mod ord">
          <ac:chgData name="Richardson Concha, Luis Enrique" userId="24a26401-76f9-4f62-bb1e-7d6980a282dd" providerId="ADAL" clId="{8E78D5C7-540C-4C79-A382-5D3B51477800}" dt="2024-06-06T18:40:51.569" v="2739"/>
          <ac:spMkLst>
            <pc:docMk/>
            <pc:sldMk cId="2826823492" sldId="2723"/>
            <ac:spMk id="36" creationId="{F9506A3C-ED6C-864E-946A-28D52CFBE7C1}"/>
          </ac:spMkLst>
        </pc:spChg>
        <pc:graphicFrameChg chg="mod">
          <ac:chgData name="Richardson Concha, Luis Enrique" userId="24a26401-76f9-4f62-bb1e-7d6980a282dd" providerId="ADAL" clId="{8E78D5C7-540C-4C79-A382-5D3B51477800}" dt="2024-06-06T18:40:51.573" v="2747"/>
          <ac:graphicFrameMkLst>
            <pc:docMk/>
            <pc:sldMk cId="2826823492" sldId="2723"/>
            <ac:graphicFrameMk id="6" creationId="{7916D848-0D74-682B-2059-D4867C0BDEEE}"/>
          </ac:graphicFrameMkLst>
        </pc:graphicFrameChg>
        <pc:picChg chg="mod ord">
          <ac:chgData name="Richardson Concha, Luis Enrique" userId="24a26401-76f9-4f62-bb1e-7d6980a282dd" providerId="ADAL" clId="{8E78D5C7-540C-4C79-A382-5D3B51477800}" dt="2024-06-06T18:40:51.570" v="2743"/>
          <ac:picMkLst>
            <pc:docMk/>
            <pc:sldMk cId="2826823492" sldId="2723"/>
            <ac:picMk id="3" creationId="{E326459A-0391-08B7-78AF-F69E865FCF45}"/>
          </ac:picMkLst>
        </pc:picChg>
        <pc:picChg chg="del mod ord">
          <ac:chgData name="Richardson Concha, Luis Enrique" userId="24a26401-76f9-4f62-bb1e-7d6980a282dd" providerId="ADAL" clId="{8E78D5C7-540C-4C79-A382-5D3B51477800}" dt="2024-06-06T18:40:52.957" v="2748" actId="478"/>
          <ac:picMkLst>
            <pc:docMk/>
            <pc:sldMk cId="2826823492" sldId="2723"/>
            <ac:picMk id="5" creationId="{00000000-0000-0000-0000-000000000000}"/>
          </ac:picMkLst>
        </pc:picChg>
        <pc:picChg chg="add mod">
          <ac:chgData name="Richardson Concha, Luis Enrique" userId="24a26401-76f9-4f62-bb1e-7d6980a282dd" providerId="ADAL" clId="{8E78D5C7-540C-4C79-A382-5D3B51477800}" dt="2024-06-06T18:40:51.568" v="2735"/>
          <ac:picMkLst>
            <pc:docMk/>
            <pc:sldMk cId="2826823492" sldId="2723"/>
            <ac:picMk id="9218" creationId="{9B1D1A0A-F43B-670F-3893-75A4B547DA13}"/>
          </ac:picMkLst>
        </pc:picChg>
      </pc:sldChg>
      <pc:sldChg chg="addSp delSp modSp add mod replTag delTag">
        <pc:chgData name="Richardson Concha, Luis Enrique" userId="24a26401-76f9-4f62-bb1e-7d6980a282dd" providerId="ADAL" clId="{8E78D5C7-540C-4C79-A382-5D3B51477800}" dt="2024-06-06T18:49:27.600" v="2939"/>
        <pc:sldMkLst>
          <pc:docMk/>
          <pc:sldMk cId="2019860821" sldId="2724"/>
        </pc:sldMkLst>
        <pc:spChg chg="mod ord">
          <ac:chgData name="Richardson Concha, Luis Enrique" userId="24a26401-76f9-4f62-bb1e-7d6980a282dd" providerId="ADAL" clId="{8E78D5C7-540C-4C79-A382-5D3B51477800}" dt="2024-06-06T18:42:37.219" v="2765"/>
          <ac:spMkLst>
            <pc:docMk/>
            <pc:sldMk cId="2019860821" sldId="2724"/>
            <ac:spMk id="17" creationId="{BFBD94C6-FF5E-924E-A4E6-F9CEF0E1FFE5}"/>
          </ac:spMkLst>
        </pc:spChg>
        <pc:spChg chg="mod ord">
          <ac:chgData name="Richardson Concha, Luis Enrique" userId="24a26401-76f9-4f62-bb1e-7d6980a282dd" providerId="ADAL" clId="{8E78D5C7-540C-4C79-A382-5D3B51477800}" dt="2024-06-06T18:42:37.218" v="2763"/>
          <ac:spMkLst>
            <pc:docMk/>
            <pc:sldMk cId="2019860821" sldId="2724"/>
            <ac:spMk id="36" creationId="{F9506A3C-ED6C-864E-946A-28D52CFBE7C1}"/>
          </ac:spMkLst>
        </pc:spChg>
        <pc:graphicFrameChg chg="mod">
          <ac:chgData name="Richardson Concha, Luis Enrique" userId="24a26401-76f9-4f62-bb1e-7d6980a282dd" providerId="ADAL" clId="{8E78D5C7-540C-4C79-A382-5D3B51477800}" dt="2024-06-06T18:42:37.222" v="2771"/>
          <ac:graphicFrameMkLst>
            <pc:docMk/>
            <pc:sldMk cId="2019860821" sldId="2724"/>
            <ac:graphicFrameMk id="6" creationId="{7916D848-0D74-682B-2059-D4867C0BDEEE}"/>
          </ac:graphicFrameMkLst>
        </pc:graphicFrameChg>
        <pc:picChg chg="mod ord">
          <ac:chgData name="Richardson Concha, Luis Enrique" userId="24a26401-76f9-4f62-bb1e-7d6980a282dd" providerId="ADAL" clId="{8E78D5C7-540C-4C79-A382-5D3B51477800}" dt="2024-06-06T18:42:37.219" v="2767"/>
          <ac:picMkLst>
            <pc:docMk/>
            <pc:sldMk cId="2019860821" sldId="2724"/>
            <ac:picMk id="3" creationId="{E326459A-0391-08B7-78AF-F69E865FCF45}"/>
          </ac:picMkLst>
        </pc:picChg>
        <pc:picChg chg="del mod ord">
          <ac:chgData name="Richardson Concha, Luis Enrique" userId="24a26401-76f9-4f62-bb1e-7d6980a282dd" providerId="ADAL" clId="{8E78D5C7-540C-4C79-A382-5D3B51477800}" dt="2024-06-06T18:42:38.587" v="2772" actId="478"/>
          <ac:picMkLst>
            <pc:docMk/>
            <pc:sldMk cId="2019860821" sldId="2724"/>
            <ac:picMk id="5" creationId="{00000000-0000-0000-0000-000000000000}"/>
          </ac:picMkLst>
        </pc:picChg>
        <pc:picChg chg="add mod">
          <ac:chgData name="Richardson Concha, Luis Enrique" userId="24a26401-76f9-4f62-bb1e-7d6980a282dd" providerId="ADAL" clId="{8E78D5C7-540C-4C79-A382-5D3B51477800}" dt="2024-06-06T18:42:37.217" v="2759"/>
          <ac:picMkLst>
            <pc:docMk/>
            <pc:sldMk cId="2019860821" sldId="2724"/>
            <ac:picMk id="10242" creationId="{F0D42924-4EED-D544-E62F-FE04E9775FFE}"/>
          </ac:picMkLst>
        </pc:picChg>
      </pc:sldChg>
      <pc:sldChg chg="addSp delSp modSp add mod replTag delTag">
        <pc:chgData name="Richardson Concha, Luis Enrique" userId="24a26401-76f9-4f62-bb1e-7d6980a282dd" providerId="ADAL" clId="{8E78D5C7-540C-4C79-A382-5D3B51477800}" dt="2024-06-06T18:49:29.296" v="2941"/>
        <pc:sldMkLst>
          <pc:docMk/>
          <pc:sldMk cId="1863031693" sldId="2725"/>
        </pc:sldMkLst>
        <pc:spChg chg="mod ord">
          <ac:chgData name="Richardson Concha, Luis Enrique" userId="24a26401-76f9-4f62-bb1e-7d6980a282dd" providerId="ADAL" clId="{8E78D5C7-540C-4C79-A382-5D3B51477800}" dt="2024-06-06T18:44:33.858" v="2790"/>
          <ac:spMkLst>
            <pc:docMk/>
            <pc:sldMk cId="1863031693" sldId="2725"/>
            <ac:spMk id="17" creationId="{BFBD94C6-FF5E-924E-A4E6-F9CEF0E1FFE5}"/>
          </ac:spMkLst>
        </pc:spChg>
        <pc:spChg chg="mod ord">
          <ac:chgData name="Richardson Concha, Luis Enrique" userId="24a26401-76f9-4f62-bb1e-7d6980a282dd" providerId="ADAL" clId="{8E78D5C7-540C-4C79-A382-5D3B51477800}" dt="2024-06-06T18:44:33.857" v="2788"/>
          <ac:spMkLst>
            <pc:docMk/>
            <pc:sldMk cId="1863031693" sldId="2725"/>
            <ac:spMk id="36" creationId="{F9506A3C-ED6C-864E-946A-28D52CFBE7C1}"/>
          </ac:spMkLst>
        </pc:spChg>
        <pc:graphicFrameChg chg="mod">
          <ac:chgData name="Richardson Concha, Luis Enrique" userId="24a26401-76f9-4f62-bb1e-7d6980a282dd" providerId="ADAL" clId="{8E78D5C7-540C-4C79-A382-5D3B51477800}" dt="2024-06-06T18:44:33.861" v="2796"/>
          <ac:graphicFrameMkLst>
            <pc:docMk/>
            <pc:sldMk cId="1863031693" sldId="2725"/>
            <ac:graphicFrameMk id="6" creationId="{7916D848-0D74-682B-2059-D4867C0BDEEE}"/>
          </ac:graphicFrameMkLst>
        </pc:graphicFrameChg>
        <pc:picChg chg="mod ord">
          <ac:chgData name="Richardson Concha, Luis Enrique" userId="24a26401-76f9-4f62-bb1e-7d6980a282dd" providerId="ADAL" clId="{8E78D5C7-540C-4C79-A382-5D3B51477800}" dt="2024-06-06T18:44:33.858" v="2792"/>
          <ac:picMkLst>
            <pc:docMk/>
            <pc:sldMk cId="1863031693" sldId="2725"/>
            <ac:picMk id="3" creationId="{E326459A-0391-08B7-78AF-F69E865FCF45}"/>
          </ac:picMkLst>
        </pc:picChg>
        <pc:picChg chg="del mod ord">
          <ac:chgData name="Richardson Concha, Luis Enrique" userId="24a26401-76f9-4f62-bb1e-7d6980a282dd" providerId="ADAL" clId="{8E78D5C7-540C-4C79-A382-5D3B51477800}" dt="2024-06-06T18:44:35.261" v="2797" actId="478"/>
          <ac:picMkLst>
            <pc:docMk/>
            <pc:sldMk cId="1863031693" sldId="2725"/>
            <ac:picMk id="5" creationId="{00000000-0000-0000-0000-000000000000}"/>
          </ac:picMkLst>
        </pc:picChg>
        <pc:picChg chg="add mod">
          <ac:chgData name="Richardson Concha, Luis Enrique" userId="24a26401-76f9-4f62-bb1e-7d6980a282dd" providerId="ADAL" clId="{8E78D5C7-540C-4C79-A382-5D3B51477800}" dt="2024-06-06T18:44:33.856" v="2784"/>
          <ac:picMkLst>
            <pc:docMk/>
            <pc:sldMk cId="1863031693" sldId="2725"/>
            <ac:picMk id="11266" creationId="{0400488B-FE77-24EE-B9DF-6DD58858536A}"/>
          </ac:picMkLst>
        </pc:picChg>
      </pc:sldChg>
      <pc:sldChg chg="addSp delSp modSp add mod ord replTag delTag">
        <pc:chgData name="Richardson Concha, Luis Enrique" userId="24a26401-76f9-4f62-bb1e-7d6980a282dd" providerId="ADAL" clId="{8E78D5C7-540C-4C79-A382-5D3B51477800}" dt="2024-06-06T18:46:10.592" v="2823"/>
        <pc:sldMkLst>
          <pc:docMk/>
          <pc:sldMk cId="2533453618" sldId="2726"/>
        </pc:sldMkLst>
        <pc:spChg chg="mod ord">
          <ac:chgData name="Richardson Concha, Luis Enrique" userId="24a26401-76f9-4f62-bb1e-7d6980a282dd" providerId="ADAL" clId="{8E78D5C7-540C-4C79-A382-5D3B51477800}" dt="2024-06-06T18:46:06.947" v="2814"/>
          <ac:spMkLst>
            <pc:docMk/>
            <pc:sldMk cId="2533453618" sldId="2726"/>
            <ac:spMk id="17" creationId="{BFBD94C6-FF5E-924E-A4E6-F9CEF0E1FFE5}"/>
          </ac:spMkLst>
        </pc:spChg>
        <pc:spChg chg="mod ord">
          <ac:chgData name="Richardson Concha, Luis Enrique" userId="24a26401-76f9-4f62-bb1e-7d6980a282dd" providerId="ADAL" clId="{8E78D5C7-540C-4C79-A382-5D3B51477800}" dt="2024-06-06T18:46:06.946" v="2812"/>
          <ac:spMkLst>
            <pc:docMk/>
            <pc:sldMk cId="2533453618" sldId="2726"/>
            <ac:spMk id="36" creationId="{F9506A3C-ED6C-864E-946A-28D52CFBE7C1}"/>
          </ac:spMkLst>
        </pc:spChg>
        <pc:graphicFrameChg chg="mod">
          <ac:chgData name="Richardson Concha, Luis Enrique" userId="24a26401-76f9-4f62-bb1e-7d6980a282dd" providerId="ADAL" clId="{8E78D5C7-540C-4C79-A382-5D3B51477800}" dt="2024-06-06T18:46:06.950" v="2820"/>
          <ac:graphicFrameMkLst>
            <pc:docMk/>
            <pc:sldMk cId="2533453618" sldId="2726"/>
            <ac:graphicFrameMk id="6" creationId="{7916D848-0D74-682B-2059-D4867C0BDEEE}"/>
          </ac:graphicFrameMkLst>
        </pc:graphicFrameChg>
        <pc:picChg chg="mod ord">
          <ac:chgData name="Richardson Concha, Luis Enrique" userId="24a26401-76f9-4f62-bb1e-7d6980a282dd" providerId="ADAL" clId="{8E78D5C7-540C-4C79-A382-5D3B51477800}" dt="2024-06-06T18:46:06.947" v="2816"/>
          <ac:picMkLst>
            <pc:docMk/>
            <pc:sldMk cId="2533453618" sldId="2726"/>
            <ac:picMk id="3" creationId="{E326459A-0391-08B7-78AF-F69E865FCF45}"/>
          </ac:picMkLst>
        </pc:picChg>
        <pc:picChg chg="del mod ord">
          <ac:chgData name="Richardson Concha, Luis Enrique" userId="24a26401-76f9-4f62-bb1e-7d6980a282dd" providerId="ADAL" clId="{8E78D5C7-540C-4C79-A382-5D3B51477800}" dt="2024-06-06T18:46:08.172" v="2821" actId="478"/>
          <ac:picMkLst>
            <pc:docMk/>
            <pc:sldMk cId="2533453618" sldId="2726"/>
            <ac:picMk id="5" creationId="{00000000-0000-0000-0000-000000000000}"/>
          </ac:picMkLst>
        </pc:picChg>
        <pc:picChg chg="add mod">
          <ac:chgData name="Richardson Concha, Luis Enrique" userId="24a26401-76f9-4f62-bb1e-7d6980a282dd" providerId="ADAL" clId="{8E78D5C7-540C-4C79-A382-5D3B51477800}" dt="2024-06-06T18:46:06.944" v="2808"/>
          <ac:picMkLst>
            <pc:docMk/>
            <pc:sldMk cId="2533453618" sldId="2726"/>
            <ac:picMk id="12290" creationId="{A2C04846-2825-D972-72C9-3DBF8E5B65BE}"/>
          </ac:picMkLst>
        </pc:picChg>
      </pc:sldChg>
      <pc:sldChg chg="addSp delSp modSp add mod ord replTag delTag">
        <pc:chgData name="Richardson Concha, Luis Enrique" userId="24a26401-76f9-4f62-bb1e-7d6980a282dd" providerId="ADAL" clId="{8E78D5C7-540C-4C79-A382-5D3B51477800}" dt="2024-06-06T18:47:09.117" v="2852" actId="478"/>
        <pc:sldMkLst>
          <pc:docMk/>
          <pc:sldMk cId="414531341" sldId="2727"/>
        </pc:sldMkLst>
        <pc:spChg chg="mod ord">
          <ac:chgData name="Richardson Concha, Luis Enrique" userId="24a26401-76f9-4f62-bb1e-7d6980a282dd" providerId="ADAL" clId="{8E78D5C7-540C-4C79-A382-5D3B51477800}" dt="2024-06-06T18:47:07.772" v="2845"/>
          <ac:spMkLst>
            <pc:docMk/>
            <pc:sldMk cId="414531341" sldId="2727"/>
            <ac:spMk id="17" creationId="{BFBD94C6-FF5E-924E-A4E6-F9CEF0E1FFE5}"/>
          </ac:spMkLst>
        </pc:spChg>
        <pc:spChg chg="mod ord">
          <ac:chgData name="Richardson Concha, Luis Enrique" userId="24a26401-76f9-4f62-bb1e-7d6980a282dd" providerId="ADAL" clId="{8E78D5C7-540C-4C79-A382-5D3B51477800}" dt="2024-06-06T18:47:07.771" v="2843"/>
          <ac:spMkLst>
            <pc:docMk/>
            <pc:sldMk cId="414531341" sldId="2727"/>
            <ac:spMk id="36" creationId="{F9506A3C-ED6C-864E-946A-28D52CFBE7C1}"/>
          </ac:spMkLst>
        </pc:spChg>
        <pc:graphicFrameChg chg="mod">
          <ac:chgData name="Richardson Concha, Luis Enrique" userId="24a26401-76f9-4f62-bb1e-7d6980a282dd" providerId="ADAL" clId="{8E78D5C7-540C-4C79-A382-5D3B51477800}" dt="2024-06-06T18:47:07.777" v="2851"/>
          <ac:graphicFrameMkLst>
            <pc:docMk/>
            <pc:sldMk cId="414531341" sldId="2727"/>
            <ac:graphicFrameMk id="6" creationId="{7916D848-0D74-682B-2059-D4867C0BDEEE}"/>
          </ac:graphicFrameMkLst>
        </pc:graphicFrameChg>
        <pc:picChg chg="mod ord">
          <ac:chgData name="Richardson Concha, Luis Enrique" userId="24a26401-76f9-4f62-bb1e-7d6980a282dd" providerId="ADAL" clId="{8E78D5C7-540C-4C79-A382-5D3B51477800}" dt="2024-06-06T18:47:07.772" v="2847"/>
          <ac:picMkLst>
            <pc:docMk/>
            <pc:sldMk cId="414531341" sldId="2727"/>
            <ac:picMk id="3" creationId="{E326459A-0391-08B7-78AF-F69E865FCF45}"/>
          </ac:picMkLst>
        </pc:picChg>
        <pc:picChg chg="del mod ord">
          <ac:chgData name="Richardson Concha, Luis Enrique" userId="24a26401-76f9-4f62-bb1e-7d6980a282dd" providerId="ADAL" clId="{8E78D5C7-540C-4C79-A382-5D3B51477800}" dt="2024-06-06T18:47:09.117" v="2852" actId="478"/>
          <ac:picMkLst>
            <pc:docMk/>
            <pc:sldMk cId="414531341" sldId="2727"/>
            <ac:picMk id="5" creationId="{00000000-0000-0000-0000-000000000000}"/>
          </ac:picMkLst>
        </pc:picChg>
        <pc:picChg chg="add mod">
          <ac:chgData name="Richardson Concha, Luis Enrique" userId="24a26401-76f9-4f62-bb1e-7d6980a282dd" providerId="ADAL" clId="{8E78D5C7-540C-4C79-A382-5D3B51477800}" dt="2024-06-06T18:47:07.770" v="2839"/>
          <ac:picMkLst>
            <pc:docMk/>
            <pc:sldMk cId="414531341" sldId="2727"/>
            <ac:picMk id="13314" creationId="{1428A046-3BB2-CA18-8E17-34EF2A872495}"/>
          </ac:picMkLst>
        </pc:picChg>
      </pc:sldChg>
      <pc:sldChg chg="addSp delSp modSp add mod replTag delTag">
        <pc:chgData name="Richardson Concha, Luis Enrique" userId="24a26401-76f9-4f62-bb1e-7d6980a282dd" providerId="ADAL" clId="{8E78D5C7-540C-4C79-A382-5D3B51477800}" dt="2024-06-06T18:48:26.412" v="2875" actId="478"/>
        <pc:sldMkLst>
          <pc:docMk/>
          <pc:sldMk cId="434295357" sldId="2728"/>
        </pc:sldMkLst>
        <pc:spChg chg="mod ord">
          <ac:chgData name="Richardson Concha, Luis Enrique" userId="24a26401-76f9-4f62-bb1e-7d6980a282dd" providerId="ADAL" clId="{8E78D5C7-540C-4C79-A382-5D3B51477800}" dt="2024-06-06T18:48:24.395" v="2868"/>
          <ac:spMkLst>
            <pc:docMk/>
            <pc:sldMk cId="434295357" sldId="2728"/>
            <ac:spMk id="17" creationId="{BFBD94C6-FF5E-924E-A4E6-F9CEF0E1FFE5}"/>
          </ac:spMkLst>
        </pc:spChg>
        <pc:spChg chg="mod ord">
          <ac:chgData name="Richardson Concha, Luis Enrique" userId="24a26401-76f9-4f62-bb1e-7d6980a282dd" providerId="ADAL" clId="{8E78D5C7-540C-4C79-A382-5D3B51477800}" dt="2024-06-06T18:48:24.394" v="2866"/>
          <ac:spMkLst>
            <pc:docMk/>
            <pc:sldMk cId="434295357" sldId="2728"/>
            <ac:spMk id="36" creationId="{F9506A3C-ED6C-864E-946A-28D52CFBE7C1}"/>
          </ac:spMkLst>
        </pc:spChg>
        <pc:graphicFrameChg chg="mod">
          <ac:chgData name="Richardson Concha, Luis Enrique" userId="24a26401-76f9-4f62-bb1e-7d6980a282dd" providerId="ADAL" clId="{8E78D5C7-540C-4C79-A382-5D3B51477800}" dt="2024-06-06T18:48:24.398" v="2874"/>
          <ac:graphicFrameMkLst>
            <pc:docMk/>
            <pc:sldMk cId="434295357" sldId="2728"/>
            <ac:graphicFrameMk id="6" creationId="{7916D848-0D74-682B-2059-D4867C0BDEEE}"/>
          </ac:graphicFrameMkLst>
        </pc:graphicFrameChg>
        <pc:picChg chg="mod ord">
          <ac:chgData name="Richardson Concha, Luis Enrique" userId="24a26401-76f9-4f62-bb1e-7d6980a282dd" providerId="ADAL" clId="{8E78D5C7-540C-4C79-A382-5D3B51477800}" dt="2024-06-06T18:48:24.395" v="2870"/>
          <ac:picMkLst>
            <pc:docMk/>
            <pc:sldMk cId="434295357" sldId="2728"/>
            <ac:picMk id="3" creationId="{E326459A-0391-08B7-78AF-F69E865FCF45}"/>
          </ac:picMkLst>
        </pc:picChg>
        <pc:picChg chg="del mod ord">
          <ac:chgData name="Richardson Concha, Luis Enrique" userId="24a26401-76f9-4f62-bb1e-7d6980a282dd" providerId="ADAL" clId="{8E78D5C7-540C-4C79-A382-5D3B51477800}" dt="2024-06-06T18:48:26.412" v="2875" actId="478"/>
          <ac:picMkLst>
            <pc:docMk/>
            <pc:sldMk cId="434295357" sldId="2728"/>
            <ac:picMk id="5" creationId="{00000000-0000-0000-0000-000000000000}"/>
          </ac:picMkLst>
        </pc:picChg>
        <pc:picChg chg="add mod">
          <ac:chgData name="Richardson Concha, Luis Enrique" userId="24a26401-76f9-4f62-bb1e-7d6980a282dd" providerId="ADAL" clId="{8E78D5C7-540C-4C79-A382-5D3B51477800}" dt="2024-06-06T18:48:24.393" v="2862"/>
          <ac:picMkLst>
            <pc:docMk/>
            <pc:sldMk cId="434295357" sldId="2728"/>
            <ac:picMk id="14338" creationId="{BC5CA673-1BC7-76CE-A9E3-3888E202C4F6}"/>
          </ac:picMkLst>
        </pc:picChg>
      </pc:sldChg>
    </pc:docChg>
  </pc:docChgLst>
  <pc:docChgLst>
    <pc:chgData name="Richardson Concha, Luis Enrique" userId="24a26401-76f9-4f62-bb1e-7d6980a282dd" providerId="ADAL" clId="{EABDCB78-D37A-4621-8BE3-4CE49916BF9E}"/>
    <pc:docChg chg="custSel modSld replTag delTag">
      <pc:chgData name="Richardson Concha, Luis Enrique" userId="24a26401-76f9-4f62-bb1e-7d6980a282dd" providerId="ADAL" clId="{EABDCB78-D37A-4621-8BE3-4CE49916BF9E}" dt="2024-05-28T21:24:34.455" v="217"/>
      <pc:docMkLst>
        <pc:docMk/>
      </pc:docMkLst>
      <pc:sldChg chg="replTag delTag">
        <pc:chgData name="Richardson Concha, Luis Enrique" userId="24a26401-76f9-4f62-bb1e-7d6980a282dd" providerId="ADAL" clId="{EABDCB78-D37A-4621-8BE3-4CE49916BF9E}" dt="2024-05-28T21:24:17.764" v="163"/>
        <pc:sldMkLst>
          <pc:docMk/>
          <pc:sldMk cId="2989611669" sldId="256"/>
        </pc:sldMkLst>
      </pc:sldChg>
      <pc:sldChg chg="replTag delTag">
        <pc:chgData name="Richardson Concha, Luis Enrique" userId="24a26401-76f9-4f62-bb1e-7d6980a282dd" providerId="ADAL" clId="{EABDCB78-D37A-4621-8BE3-4CE49916BF9E}" dt="2024-05-28T21:24:18.366" v="165"/>
        <pc:sldMkLst>
          <pc:docMk/>
          <pc:sldMk cId="1483252922" sldId="257"/>
        </pc:sldMkLst>
      </pc:sldChg>
      <pc:sldChg chg="replTag delTag">
        <pc:chgData name="Richardson Concha, Luis Enrique" userId="24a26401-76f9-4f62-bb1e-7d6980a282dd" providerId="ADAL" clId="{EABDCB78-D37A-4621-8BE3-4CE49916BF9E}" dt="2024-05-28T21:24:34.142" v="215"/>
        <pc:sldMkLst>
          <pc:docMk/>
          <pc:sldMk cId="3858523066" sldId="272"/>
        </pc:sldMkLst>
      </pc:sldChg>
      <pc:sldChg chg="replTag delTag">
        <pc:chgData name="Richardson Concha, Luis Enrique" userId="24a26401-76f9-4f62-bb1e-7d6980a282dd" providerId="ADAL" clId="{EABDCB78-D37A-4621-8BE3-4CE49916BF9E}" dt="2024-05-28T21:24:34.455" v="217"/>
        <pc:sldMkLst>
          <pc:docMk/>
          <pc:sldMk cId="1458797933" sldId="274"/>
        </pc:sldMkLst>
      </pc:sldChg>
      <pc:sldChg chg="delSp mod replTag delTag">
        <pc:chgData name="Richardson Concha, Luis Enrique" userId="24a26401-76f9-4f62-bb1e-7d6980a282dd" providerId="ADAL" clId="{EABDCB78-D37A-4621-8BE3-4CE49916BF9E}" dt="2024-05-28T21:24:19.569" v="167"/>
        <pc:sldMkLst>
          <pc:docMk/>
          <pc:sldMk cId="4017552152" sldId="2698"/>
        </pc:sldMkLst>
        <pc:cxnChg chg="del">
          <ac:chgData name="Richardson Concha, Luis Enrique" userId="24a26401-76f9-4f62-bb1e-7d6980a282dd" providerId="ADAL" clId="{EABDCB78-D37A-4621-8BE3-4CE49916BF9E}" dt="2024-05-28T21:22:20.778" v="14" actId="478"/>
          <ac:cxnSpMkLst>
            <pc:docMk/>
            <pc:sldMk cId="4017552152" sldId="2698"/>
            <ac:cxnSpMk id="15" creationId="{F194F5C5-DCC7-AB45-A639-702C5D803FCA}"/>
          </ac:cxnSpMkLst>
        </pc:cxnChg>
      </pc:sldChg>
      <pc:sldChg chg="delSp mod replTag delTag">
        <pc:chgData name="Richardson Concha, Luis Enrique" userId="24a26401-76f9-4f62-bb1e-7d6980a282dd" providerId="ADAL" clId="{EABDCB78-D37A-4621-8BE3-4CE49916BF9E}" dt="2024-05-28T21:24:20.883" v="169"/>
        <pc:sldMkLst>
          <pc:docMk/>
          <pc:sldMk cId="1544331097" sldId="2699"/>
        </pc:sldMkLst>
        <pc:cxnChg chg="del">
          <ac:chgData name="Richardson Concha, Luis Enrique" userId="24a26401-76f9-4f62-bb1e-7d6980a282dd" providerId="ADAL" clId="{EABDCB78-D37A-4621-8BE3-4CE49916BF9E}" dt="2024-05-28T21:22:23.445" v="19" actId="478"/>
          <ac:cxnSpMkLst>
            <pc:docMk/>
            <pc:sldMk cId="1544331097" sldId="2699"/>
            <ac:cxnSpMk id="15" creationId="{F194F5C5-DCC7-AB45-A639-702C5D803FCA}"/>
          </ac:cxnSpMkLst>
        </pc:cxnChg>
      </pc:sldChg>
      <pc:sldChg chg="delSp mod replTag delTag">
        <pc:chgData name="Richardson Concha, Luis Enrique" userId="24a26401-76f9-4f62-bb1e-7d6980a282dd" providerId="ADAL" clId="{EABDCB78-D37A-4621-8BE3-4CE49916BF9E}" dt="2024-05-28T21:24:22.162" v="171"/>
        <pc:sldMkLst>
          <pc:docMk/>
          <pc:sldMk cId="1779423148" sldId="2700"/>
        </pc:sldMkLst>
        <pc:cxnChg chg="del">
          <ac:chgData name="Richardson Concha, Luis Enrique" userId="24a26401-76f9-4f62-bb1e-7d6980a282dd" providerId="ADAL" clId="{EABDCB78-D37A-4621-8BE3-4CE49916BF9E}" dt="2024-05-28T21:22:26.565" v="24" actId="478"/>
          <ac:cxnSpMkLst>
            <pc:docMk/>
            <pc:sldMk cId="1779423148" sldId="2700"/>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2.697" v="173"/>
        <pc:sldMkLst>
          <pc:docMk/>
          <pc:sldMk cId="3447600091" sldId="2701"/>
        </pc:sldMkLst>
        <pc:spChg chg="mod">
          <ac:chgData name="Richardson Concha, Luis Enrique" userId="24a26401-76f9-4f62-bb1e-7d6980a282dd" providerId="ADAL" clId="{EABDCB78-D37A-4621-8BE3-4CE49916BF9E}" dt="2024-05-28T21:22:32.707" v="32" actId="33524"/>
          <ac:spMkLst>
            <pc:docMk/>
            <pc:sldMk cId="3447600091" sldId="2701"/>
            <ac:spMk id="36" creationId="{F9506A3C-ED6C-864E-946A-28D52CFBE7C1}"/>
          </ac:spMkLst>
        </pc:spChg>
        <pc:cxnChg chg="del">
          <ac:chgData name="Richardson Concha, Luis Enrique" userId="24a26401-76f9-4f62-bb1e-7d6980a282dd" providerId="ADAL" clId="{EABDCB78-D37A-4621-8BE3-4CE49916BF9E}" dt="2024-05-28T21:22:30.230" v="31" actId="478"/>
          <ac:cxnSpMkLst>
            <pc:docMk/>
            <pc:sldMk cId="3447600091" sldId="2701"/>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3.311" v="175"/>
        <pc:sldMkLst>
          <pc:docMk/>
          <pc:sldMk cId="1633057120" sldId="2702"/>
        </pc:sldMkLst>
        <pc:spChg chg="mod">
          <ac:chgData name="Richardson Concha, Luis Enrique" userId="24a26401-76f9-4f62-bb1e-7d6980a282dd" providerId="ADAL" clId="{EABDCB78-D37A-4621-8BE3-4CE49916BF9E}" dt="2024-05-28T21:22:39.889" v="38" actId="33524"/>
          <ac:spMkLst>
            <pc:docMk/>
            <pc:sldMk cId="1633057120" sldId="2702"/>
            <ac:spMk id="36" creationId="{F9506A3C-ED6C-864E-946A-28D52CFBE7C1}"/>
          </ac:spMkLst>
        </pc:spChg>
        <pc:cxnChg chg="del">
          <ac:chgData name="Richardson Concha, Luis Enrique" userId="24a26401-76f9-4f62-bb1e-7d6980a282dd" providerId="ADAL" clId="{EABDCB78-D37A-4621-8BE3-4CE49916BF9E}" dt="2024-05-28T21:22:36.535" v="37" actId="478"/>
          <ac:cxnSpMkLst>
            <pc:docMk/>
            <pc:sldMk cId="1633057120" sldId="2702"/>
            <ac:cxnSpMk id="15" creationId="{F194F5C5-DCC7-AB45-A639-702C5D803FCA}"/>
          </ac:cxnSpMkLst>
        </pc:cxnChg>
      </pc:sldChg>
      <pc:sldChg chg="delSp mod replTag delTag">
        <pc:chgData name="Richardson Concha, Luis Enrique" userId="24a26401-76f9-4f62-bb1e-7d6980a282dd" providerId="ADAL" clId="{EABDCB78-D37A-4621-8BE3-4CE49916BF9E}" dt="2024-05-28T21:24:23.787" v="177"/>
        <pc:sldMkLst>
          <pc:docMk/>
          <pc:sldMk cId="2343045108" sldId="2703"/>
        </pc:sldMkLst>
        <pc:cxnChg chg="del">
          <ac:chgData name="Richardson Concha, Luis Enrique" userId="24a26401-76f9-4f62-bb1e-7d6980a282dd" providerId="ADAL" clId="{EABDCB78-D37A-4621-8BE3-4CE49916BF9E}" dt="2024-05-28T21:22:47.381" v="43" actId="478"/>
          <ac:cxnSpMkLst>
            <pc:docMk/>
            <pc:sldMk cId="2343045108" sldId="2703"/>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279" v="179"/>
        <pc:sldMkLst>
          <pc:docMk/>
          <pc:sldMk cId="3460794031" sldId="2704"/>
        </pc:sldMkLst>
        <pc:cxnChg chg="del">
          <ac:chgData name="Richardson Concha, Luis Enrique" userId="24a26401-76f9-4f62-bb1e-7d6980a282dd" providerId="ADAL" clId="{EABDCB78-D37A-4621-8BE3-4CE49916BF9E}" dt="2024-05-28T21:22:51.029" v="50" actId="478"/>
          <ac:cxnSpMkLst>
            <pc:docMk/>
            <pc:sldMk cId="3460794031" sldId="2704"/>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842" v="181"/>
        <pc:sldMkLst>
          <pc:docMk/>
          <pc:sldMk cId="616261486" sldId="2705"/>
        </pc:sldMkLst>
        <pc:cxnChg chg="del">
          <ac:chgData name="Richardson Concha, Luis Enrique" userId="24a26401-76f9-4f62-bb1e-7d6980a282dd" providerId="ADAL" clId="{EABDCB78-D37A-4621-8BE3-4CE49916BF9E}" dt="2024-05-28T21:22:53.413" v="55" actId="478"/>
          <ac:cxnSpMkLst>
            <pc:docMk/>
            <pc:sldMk cId="616261486" sldId="2705"/>
            <ac:cxnSpMk id="15" creationId="{F194F5C5-DCC7-AB45-A639-702C5D803FCA}"/>
          </ac:cxnSpMkLst>
        </pc:cxnChg>
      </pc:sldChg>
      <pc:sldChg chg="delSp mod replTag delTag">
        <pc:chgData name="Richardson Concha, Luis Enrique" userId="24a26401-76f9-4f62-bb1e-7d6980a282dd" providerId="ADAL" clId="{EABDCB78-D37A-4621-8BE3-4CE49916BF9E}" dt="2024-05-28T21:24:27.342" v="183"/>
        <pc:sldMkLst>
          <pc:docMk/>
          <pc:sldMk cId="3745508270" sldId="2706"/>
        </pc:sldMkLst>
        <pc:cxnChg chg="del">
          <ac:chgData name="Richardson Concha, Luis Enrique" userId="24a26401-76f9-4f62-bb1e-7d6980a282dd" providerId="ADAL" clId="{EABDCB78-D37A-4621-8BE3-4CE49916BF9E}" dt="2024-05-28T21:22:56.311" v="60" actId="478"/>
          <ac:cxnSpMkLst>
            <pc:docMk/>
            <pc:sldMk cId="3745508270" sldId="2706"/>
            <ac:cxnSpMk id="15" creationId="{F194F5C5-DCC7-AB45-A639-702C5D803FCA}"/>
          </ac:cxnSpMkLst>
        </pc:cxnChg>
      </pc:sldChg>
      <pc:sldChg chg="delSp mod replTag delTag">
        <pc:chgData name="Richardson Concha, Luis Enrique" userId="24a26401-76f9-4f62-bb1e-7d6980a282dd" providerId="ADAL" clId="{EABDCB78-D37A-4621-8BE3-4CE49916BF9E}" dt="2024-05-28T21:24:29.837" v="185"/>
        <pc:sldMkLst>
          <pc:docMk/>
          <pc:sldMk cId="4106909936" sldId="2707"/>
        </pc:sldMkLst>
        <pc:cxnChg chg="del">
          <ac:chgData name="Richardson Concha, Luis Enrique" userId="24a26401-76f9-4f62-bb1e-7d6980a282dd" providerId="ADAL" clId="{EABDCB78-D37A-4621-8BE3-4CE49916BF9E}" dt="2024-05-28T21:22:59.541" v="67" actId="478"/>
          <ac:cxnSpMkLst>
            <pc:docMk/>
            <pc:sldMk cId="4106909936" sldId="270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0.328" v="187"/>
        <pc:sldMkLst>
          <pc:docMk/>
          <pc:sldMk cId="2288317796" sldId="2708"/>
        </pc:sldMkLst>
        <pc:cxnChg chg="del">
          <ac:chgData name="Richardson Concha, Luis Enrique" userId="24a26401-76f9-4f62-bb1e-7d6980a282dd" providerId="ADAL" clId="{EABDCB78-D37A-4621-8BE3-4CE49916BF9E}" dt="2024-05-28T21:23:02.245" v="72" actId="478"/>
          <ac:cxnSpMkLst>
            <pc:docMk/>
            <pc:sldMk cId="2288317796" sldId="2708"/>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0.696" v="189"/>
        <pc:sldMkLst>
          <pc:docMk/>
          <pc:sldMk cId="1714933851" sldId="2709"/>
        </pc:sldMkLst>
        <pc:spChg chg="mod">
          <ac:chgData name="Richardson Concha, Luis Enrique" userId="24a26401-76f9-4f62-bb1e-7d6980a282dd" providerId="ADAL" clId="{EABDCB78-D37A-4621-8BE3-4CE49916BF9E}" dt="2024-05-28T21:23:18.858" v="84" actId="6549"/>
          <ac:spMkLst>
            <pc:docMk/>
            <pc:sldMk cId="1714933851" sldId="2709"/>
            <ac:spMk id="36" creationId="{F9506A3C-ED6C-864E-946A-28D52CFBE7C1}"/>
          </ac:spMkLst>
        </pc:spChg>
        <pc:cxnChg chg="del">
          <ac:chgData name="Richardson Concha, Luis Enrique" userId="24a26401-76f9-4f62-bb1e-7d6980a282dd" providerId="ADAL" clId="{EABDCB78-D37A-4621-8BE3-4CE49916BF9E}" dt="2024-05-28T21:23:07.624" v="83" actId="478"/>
          <ac:cxnSpMkLst>
            <pc:docMk/>
            <pc:sldMk cId="1714933851" sldId="270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031" v="191"/>
        <pc:sldMkLst>
          <pc:docMk/>
          <pc:sldMk cId="2868442445" sldId="2710"/>
        </pc:sldMkLst>
        <pc:cxnChg chg="del">
          <ac:chgData name="Richardson Concha, Luis Enrique" userId="24a26401-76f9-4f62-bb1e-7d6980a282dd" providerId="ADAL" clId="{EABDCB78-D37A-4621-8BE3-4CE49916BF9E}" dt="2024-05-28T21:23:24.565" v="89" actId="478"/>
          <ac:cxnSpMkLst>
            <pc:docMk/>
            <pc:sldMk cId="2868442445" sldId="271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367" v="193"/>
        <pc:sldMkLst>
          <pc:docMk/>
          <pc:sldMk cId="1023869374" sldId="2711"/>
        </pc:sldMkLst>
        <pc:cxnChg chg="del">
          <ac:chgData name="Richardson Concha, Luis Enrique" userId="24a26401-76f9-4f62-bb1e-7d6980a282dd" providerId="ADAL" clId="{EABDCB78-D37A-4621-8BE3-4CE49916BF9E}" dt="2024-05-28T21:23:29.159" v="98" actId="478"/>
          <ac:cxnSpMkLst>
            <pc:docMk/>
            <pc:sldMk cId="1023869374" sldId="2711"/>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587" v="195"/>
        <pc:sldMkLst>
          <pc:docMk/>
          <pc:sldMk cId="3788147483" sldId="2712"/>
        </pc:sldMkLst>
        <pc:cxnChg chg="del">
          <ac:chgData name="Richardson Concha, Luis Enrique" userId="24a26401-76f9-4f62-bb1e-7d6980a282dd" providerId="ADAL" clId="{EABDCB78-D37A-4621-8BE3-4CE49916BF9E}" dt="2024-05-28T21:23:31.285" v="103" actId="478"/>
          <ac:cxnSpMkLst>
            <pc:docMk/>
            <pc:sldMk cId="3788147483" sldId="2712"/>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817" v="197"/>
        <pc:sldMkLst>
          <pc:docMk/>
          <pc:sldMk cId="1560505940" sldId="2713"/>
        </pc:sldMkLst>
        <pc:cxnChg chg="del">
          <ac:chgData name="Richardson Concha, Luis Enrique" userId="24a26401-76f9-4f62-bb1e-7d6980a282dd" providerId="ADAL" clId="{EABDCB78-D37A-4621-8BE3-4CE49916BF9E}" dt="2024-05-28T21:23:34.893" v="110" actId="478"/>
          <ac:cxnSpMkLst>
            <pc:docMk/>
            <pc:sldMk cId="1560505940" sldId="2713"/>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2.071" v="199"/>
        <pc:sldMkLst>
          <pc:docMk/>
          <pc:sldMk cId="907430805" sldId="2714"/>
        </pc:sldMkLst>
        <pc:spChg chg="mod">
          <ac:chgData name="Richardson Concha, Luis Enrique" userId="24a26401-76f9-4f62-bb1e-7d6980a282dd" providerId="ADAL" clId="{EABDCB78-D37A-4621-8BE3-4CE49916BF9E}" dt="2024-05-28T21:23:44.256" v="118" actId="33524"/>
          <ac:spMkLst>
            <pc:docMk/>
            <pc:sldMk cId="907430805" sldId="2714"/>
            <ac:spMk id="36" creationId="{F9506A3C-ED6C-864E-946A-28D52CFBE7C1}"/>
          </ac:spMkLst>
        </pc:spChg>
        <pc:cxnChg chg="del">
          <ac:chgData name="Richardson Concha, Luis Enrique" userId="24a26401-76f9-4f62-bb1e-7d6980a282dd" providerId="ADAL" clId="{EABDCB78-D37A-4621-8BE3-4CE49916BF9E}" dt="2024-05-28T21:23:38.151" v="117" actId="478"/>
          <ac:cxnSpMkLst>
            <pc:docMk/>
            <pc:sldMk cId="907430805" sldId="2714"/>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328" v="201"/>
        <pc:sldMkLst>
          <pc:docMk/>
          <pc:sldMk cId="2986248088" sldId="2715"/>
        </pc:sldMkLst>
        <pc:cxnChg chg="del">
          <ac:chgData name="Richardson Concha, Luis Enrique" userId="24a26401-76f9-4f62-bb1e-7d6980a282dd" providerId="ADAL" clId="{EABDCB78-D37A-4621-8BE3-4CE49916BF9E}" dt="2024-05-28T21:23:52.534" v="123" actId="478"/>
          <ac:cxnSpMkLst>
            <pc:docMk/>
            <pc:sldMk cId="2986248088" sldId="2715"/>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583" v="203"/>
        <pc:sldMkLst>
          <pc:docMk/>
          <pc:sldMk cId="1126120352" sldId="2716"/>
        </pc:sldMkLst>
        <pc:cxnChg chg="del">
          <ac:chgData name="Richardson Concha, Luis Enrique" userId="24a26401-76f9-4f62-bb1e-7d6980a282dd" providerId="ADAL" clId="{EABDCB78-D37A-4621-8BE3-4CE49916BF9E}" dt="2024-05-28T21:23:56.422" v="130" actId="478"/>
          <ac:cxnSpMkLst>
            <pc:docMk/>
            <pc:sldMk cId="1126120352" sldId="2716"/>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863" v="205"/>
        <pc:sldMkLst>
          <pc:docMk/>
          <pc:sldMk cId="1789406642" sldId="2717"/>
        </pc:sldMkLst>
        <pc:cxnChg chg="del">
          <ac:chgData name="Richardson Concha, Luis Enrique" userId="24a26401-76f9-4f62-bb1e-7d6980a282dd" providerId="ADAL" clId="{EABDCB78-D37A-4621-8BE3-4CE49916BF9E}" dt="2024-05-28T21:23:59.049" v="137" actId="478"/>
          <ac:cxnSpMkLst>
            <pc:docMk/>
            <pc:sldMk cId="1789406642" sldId="271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065" v="207"/>
        <pc:sldMkLst>
          <pc:docMk/>
          <pc:sldMk cId="348331493" sldId="2718"/>
        </pc:sldMkLst>
        <pc:cxnChg chg="del">
          <ac:chgData name="Richardson Concha, Luis Enrique" userId="24a26401-76f9-4f62-bb1e-7d6980a282dd" providerId="ADAL" clId="{EABDCB78-D37A-4621-8BE3-4CE49916BF9E}" dt="2024-05-28T21:24:02.260" v="142" actId="478"/>
          <ac:cxnSpMkLst>
            <pc:docMk/>
            <pc:sldMk cId="348331493" sldId="2718"/>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280" v="209"/>
        <pc:sldMkLst>
          <pc:docMk/>
          <pc:sldMk cId="2946376700" sldId="2719"/>
        </pc:sldMkLst>
        <pc:cxnChg chg="del">
          <ac:chgData name="Richardson Concha, Luis Enrique" userId="24a26401-76f9-4f62-bb1e-7d6980a282dd" providerId="ADAL" clId="{EABDCB78-D37A-4621-8BE3-4CE49916BF9E}" dt="2024-05-28T21:24:05.988" v="147" actId="478"/>
          <ac:cxnSpMkLst>
            <pc:docMk/>
            <pc:sldMk cId="2946376700" sldId="271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671" v="211"/>
        <pc:sldMkLst>
          <pc:docMk/>
          <pc:sldMk cId="1423717446" sldId="2720"/>
        </pc:sldMkLst>
        <pc:cxnChg chg="del">
          <ac:chgData name="Richardson Concha, Luis Enrique" userId="24a26401-76f9-4f62-bb1e-7d6980a282dd" providerId="ADAL" clId="{EABDCB78-D37A-4621-8BE3-4CE49916BF9E}" dt="2024-05-28T21:24:09.157" v="154" actId="478"/>
          <ac:cxnSpMkLst>
            <pc:docMk/>
            <pc:sldMk cId="1423717446" sldId="272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905" v="213"/>
        <pc:sldMkLst>
          <pc:docMk/>
          <pc:sldMk cId="856661537" sldId="2721"/>
        </pc:sldMkLst>
        <pc:cxnChg chg="del">
          <ac:chgData name="Richardson Concha, Luis Enrique" userId="24a26401-76f9-4f62-bb1e-7d6980a282dd" providerId="ADAL" clId="{EABDCB78-D37A-4621-8BE3-4CE49916BF9E}" dt="2024-05-28T21:24:12.374" v="159" actId="478"/>
          <ac:cxnSpMkLst>
            <pc:docMk/>
            <pc:sldMk cId="856661537" sldId="2721"/>
            <ac:cxnSpMk id="15" creationId="{F194F5C5-DCC7-AB45-A639-702C5D803FCA}"/>
          </ac:cxnSpMkLst>
        </pc:cxnChg>
      </pc:sldChg>
    </pc:docChg>
  </pc:docChgLst>
  <pc:docChgLst>
    <pc:chgData name="Richardson Concha, Luis Enrique" userId="24a26401-76f9-4f62-bb1e-7d6980a282dd" providerId="ADAL" clId="{381FE82B-2BD3-403A-BE67-73F72757EBD2}"/>
    <pc:docChg chg="undo custSel addSld delSld modSld sldOrd">
      <pc:chgData name="Richardson Concha, Luis Enrique" userId="24a26401-76f9-4f62-bb1e-7d6980a282dd" providerId="ADAL" clId="{381FE82B-2BD3-403A-BE67-73F72757EBD2}" dt="2024-08-28T21:07:08.167" v="414" actId="20577"/>
      <pc:docMkLst>
        <pc:docMk/>
      </pc:docMkLst>
      <pc:sldChg chg="modSp mod">
        <pc:chgData name="Richardson Concha, Luis Enrique" userId="24a26401-76f9-4f62-bb1e-7d6980a282dd" providerId="ADAL" clId="{381FE82B-2BD3-403A-BE67-73F72757EBD2}" dt="2024-08-28T15:02:47.091" v="256" actId="14100"/>
        <pc:sldMkLst>
          <pc:docMk/>
          <pc:sldMk cId="1483252922" sldId="257"/>
        </pc:sldMkLst>
        <pc:spChg chg="mod">
          <ac:chgData name="Richardson Concha, Luis Enrique" userId="24a26401-76f9-4f62-bb1e-7d6980a282dd" providerId="ADAL" clId="{381FE82B-2BD3-403A-BE67-73F72757EBD2}" dt="2024-08-28T15:02:47.091" v="256" actId="14100"/>
          <ac:spMkLst>
            <pc:docMk/>
            <pc:sldMk cId="1483252922" sldId="257"/>
            <ac:spMk id="8" creationId="{446335A6-EAD4-0247-9833-6E25C18FE4CB}"/>
          </ac:spMkLst>
        </pc:spChg>
      </pc:sldChg>
      <pc:sldChg chg="modSp mod">
        <pc:chgData name="Richardson Concha, Luis Enrique" userId="24a26401-76f9-4f62-bb1e-7d6980a282dd" providerId="ADAL" clId="{381FE82B-2BD3-403A-BE67-73F72757EBD2}" dt="2024-08-28T15:04:10.344" v="259" actId="1076"/>
        <pc:sldMkLst>
          <pc:docMk/>
          <pc:sldMk cId="882969603" sldId="2700"/>
        </pc:sldMkLst>
        <pc:grpChg chg="mod">
          <ac:chgData name="Richardson Concha, Luis Enrique" userId="24a26401-76f9-4f62-bb1e-7d6980a282dd" providerId="ADAL" clId="{381FE82B-2BD3-403A-BE67-73F72757EBD2}" dt="2024-08-28T15:04:10.344" v="259" actId="1076"/>
          <ac:grpSpMkLst>
            <pc:docMk/>
            <pc:sldMk cId="882969603" sldId="2700"/>
            <ac:grpSpMk id="7" creationId="{00000000-0000-0000-0000-000000000000}"/>
          </ac:grpSpMkLst>
        </pc:grpChg>
        <pc:grpChg chg="mod">
          <ac:chgData name="Richardson Concha, Luis Enrique" userId="24a26401-76f9-4f62-bb1e-7d6980a282dd" providerId="ADAL" clId="{381FE82B-2BD3-403A-BE67-73F72757EBD2}" dt="2024-08-28T15:04:04.617" v="258" actId="1076"/>
          <ac:grpSpMkLst>
            <pc:docMk/>
            <pc:sldMk cId="882969603" sldId="2700"/>
            <ac:grpSpMk id="10" creationId="{00000000-0000-0000-0000-000000000000}"/>
          </ac:grpSpMkLst>
        </pc:grpChg>
        <pc:grpChg chg="mod">
          <ac:chgData name="Richardson Concha, Luis Enrique" userId="24a26401-76f9-4f62-bb1e-7d6980a282dd" providerId="ADAL" clId="{381FE82B-2BD3-403A-BE67-73F72757EBD2}" dt="2024-08-28T15:04:00.723" v="257" actId="1076"/>
          <ac:grpSpMkLst>
            <pc:docMk/>
            <pc:sldMk cId="882969603" sldId="2700"/>
            <ac:grpSpMk id="13" creationId="{00000000-0000-0000-0000-000000000000}"/>
          </ac:grpSpMkLst>
        </pc:grpChg>
      </pc:sldChg>
      <pc:sldChg chg="del">
        <pc:chgData name="Richardson Concha, Luis Enrique" userId="24a26401-76f9-4f62-bb1e-7d6980a282dd" providerId="ADAL" clId="{381FE82B-2BD3-403A-BE67-73F72757EBD2}" dt="2024-08-28T20:53:15.441" v="287" actId="47"/>
        <pc:sldMkLst>
          <pc:docMk/>
          <pc:sldMk cId="118477056" sldId="2701"/>
        </pc:sldMkLst>
      </pc:sldChg>
      <pc:sldChg chg="modSp mod">
        <pc:chgData name="Richardson Concha, Luis Enrique" userId="24a26401-76f9-4f62-bb1e-7d6980a282dd" providerId="ADAL" clId="{381FE82B-2BD3-403A-BE67-73F72757EBD2}" dt="2024-08-28T21:06:02.326" v="364" actId="20577"/>
        <pc:sldMkLst>
          <pc:docMk/>
          <pc:sldMk cId="18032575" sldId="2702"/>
        </pc:sldMkLst>
        <pc:spChg chg="mod">
          <ac:chgData name="Richardson Concha, Luis Enrique" userId="24a26401-76f9-4f62-bb1e-7d6980a282dd" providerId="ADAL" clId="{381FE82B-2BD3-403A-BE67-73F72757EBD2}" dt="2024-08-28T21:06:02.326" v="364" actId="20577"/>
          <ac:spMkLst>
            <pc:docMk/>
            <pc:sldMk cId="18032575" sldId="2702"/>
            <ac:spMk id="133" creationId="{ED69FF08-B077-D24F-8BEC-2BCE5AA9C143}"/>
          </ac:spMkLst>
        </pc:spChg>
      </pc:sldChg>
      <pc:sldChg chg="del">
        <pc:chgData name="Richardson Concha, Luis Enrique" userId="24a26401-76f9-4f62-bb1e-7d6980a282dd" providerId="ADAL" clId="{381FE82B-2BD3-403A-BE67-73F72757EBD2}" dt="2024-08-28T20:54:18.535" v="333" actId="47"/>
        <pc:sldMkLst>
          <pc:docMk/>
          <pc:sldMk cId="2764680291" sldId="2703"/>
        </pc:sldMkLst>
      </pc:sldChg>
      <pc:sldChg chg="del">
        <pc:chgData name="Richardson Concha, Luis Enrique" userId="24a26401-76f9-4f62-bb1e-7d6980a282dd" providerId="ADAL" clId="{381FE82B-2BD3-403A-BE67-73F72757EBD2}" dt="2024-08-28T20:55:01.607" v="338" actId="47"/>
        <pc:sldMkLst>
          <pc:docMk/>
          <pc:sldMk cId="2651725635" sldId="2704"/>
        </pc:sldMkLst>
      </pc:sldChg>
      <pc:sldChg chg="modSp mod">
        <pc:chgData name="Richardson Concha, Luis Enrique" userId="24a26401-76f9-4f62-bb1e-7d6980a282dd" providerId="ADAL" clId="{381FE82B-2BD3-403A-BE67-73F72757EBD2}" dt="2024-08-28T21:06:27.447" v="385" actId="20577"/>
        <pc:sldMkLst>
          <pc:docMk/>
          <pc:sldMk cId="1745936645" sldId="2705"/>
        </pc:sldMkLst>
        <pc:spChg chg="mod">
          <ac:chgData name="Richardson Concha, Luis Enrique" userId="24a26401-76f9-4f62-bb1e-7d6980a282dd" providerId="ADAL" clId="{381FE82B-2BD3-403A-BE67-73F72757EBD2}" dt="2024-08-28T21:06:27.447" v="385" actId="20577"/>
          <ac:spMkLst>
            <pc:docMk/>
            <pc:sldMk cId="1745936645" sldId="2705"/>
            <ac:spMk id="194" creationId="{ED69FF08-B077-D24F-8BEC-2BCE5AA9C143}"/>
          </ac:spMkLst>
        </pc:spChg>
      </pc:sldChg>
      <pc:sldChg chg="modSp mod">
        <pc:chgData name="Richardson Concha, Luis Enrique" userId="24a26401-76f9-4f62-bb1e-7d6980a282dd" providerId="ADAL" clId="{381FE82B-2BD3-403A-BE67-73F72757EBD2}" dt="2024-08-28T21:06:38.303" v="393" actId="6549"/>
        <pc:sldMkLst>
          <pc:docMk/>
          <pc:sldMk cId="3158911480" sldId="2706"/>
        </pc:sldMkLst>
        <pc:spChg chg="mod">
          <ac:chgData name="Richardson Concha, Luis Enrique" userId="24a26401-76f9-4f62-bb1e-7d6980a282dd" providerId="ADAL" clId="{381FE82B-2BD3-403A-BE67-73F72757EBD2}" dt="2024-08-28T21:06:38.303" v="393" actId="6549"/>
          <ac:spMkLst>
            <pc:docMk/>
            <pc:sldMk cId="3158911480" sldId="2706"/>
            <ac:spMk id="133" creationId="{ED69FF08-B077-D24F-8BEC-2BCE5AA9C143}"/>
          </ac:spMkLst>
        </pc:spChg>
      </pc:sldChg>
      <pc:sldChg chg="del">
        <pc:chgData name="Richardson Concha, Luis Enrique" userId="24a26401-76f9-4f62-bb1e-7d6980a282dd" providerId="ADAL" clId="{381FE82B-2BD3-403A-BE67-73F72757EBD2}" dt="2024-08-28T20:56:29.790" v="342" actId="47"/>
        <pc:sldMkLst>
          <pc:docMk/>
          <pc:sldMk cId="525446005" sldId="2707"/>
        </pc:sldMkLst>
      </pc:sldChg>
      <pc:sldChg chg="del">
        <pc:chgData name="Richardson Concha, Luis Enrique" userId="24a26401-76f9-4f62-bb1e-7d6980a282dd" providerId="ADAL" clId="{381FE82B-2BD3-403A-BE67-73F72757EBD2}" dt="2024-08-28T20:57:32.433" v="346" actId="47"/>
        <pc:sldMkLst>
          <pc:docMk/>
          <pc:sldMk cId="632928452" sldId="2708"/>
        </pc:sldMkLst>
      </pc:sldChg>
      <pc:sldChg chg="del">
        <pc:chgData name="Richardson Concha, Luis Enrique" userId="24a26401-76f9-4f62-bb1e-7d6980a282dd" providerId="ADAL" clId="{381FE82B-2BD3-403A-BE67-73F72757EBD2}" dt="2024-08-28T20:57:55.234" v="349" actId="47"/>
        <pc:sldMkLst>
          <pc:docMk/>
          <pc:sldMk cId="2691174715" sldId="2709"/>
        </pc:sldMkLst>
      </pc:sldChg>
      <pc:sldChg chg="modSp">
        <pc:chgData name="Richardson Concha, Luis Enrique" userId="24a26401-76f9-4f62-bb1e-7d6980a282dd" providerId="ADAL" clId="{381FE82B-2BD3-403A-BE67-73F72757EBD2}" dt="2024-08-28T15:04:26.792" v="261" actId="1076"/>
        <pc:sldMkLst>
          <pc:docMk/>
          <pc:sldMk cId="3612161864" sldId="2710"/>
        </pc:sldMkLst>
        <pc:spChg chg="mod">
          <ac:chgData name="Richardson Concha, Luis Enrique" userId="24a26401-76f9-4f62-bb1e-7d6980a282dd" providerId="ADAL" clId="{381FE82B-2BD3-403A-BE67-73F72757EBD2}" dt="2024-08-28T15:04:26.792" v="261" actId="1076"/>
          <ac:spMkLst>
            <pc:docMk/>
            <pc:sldMk cId="3612161864" sldId="2710"/>
            <ac:spMk id="21" creationId="{00000000-0000-0000-0000-000000000000}"/>
          </ac:spMkLst>
        </pc:spChg>
        <pc:spChg chg="mod">
          <ac:chgData name="Richardson Concha, Luis Enrique" userId="24a26401-76f9-4f62-bb1e-7d6980a282dd" providerId="ADAL" clId="{381FE82B-2BD3-403A-BE67-73F72757EBD2}" dt="2024-08-28T15:04:26.792" v="261" actId="1076"/>
          <ac:spMkLst>
            <pc:docMk/>
            <pc:sldMk cId="3612161864" sldId="2710"/>
            <ac:spMk id="23" creationId="{00000000-0000-0000-0000-000000000000}"/>
          </ac:spMkLst>
        </pc:spChg>
        <pc:grpChg chg="mod">
          <ac:chgData name="Richardson Concha, Luis Enrique" userId="24a26401-76f9-4f62-bb1e-7d6980a282dd" providerId="ADAL" clId="{381FE82B-2BD3-403A-BE67-73F72757EBD2}" dt="2024-08-28T15:04:26.792" v="261" actId="1076"/>
          <ac:grpSpMkLst>
            <pc:docMk/>
            <pc:sldMk cId="3612161864" sldId="2710"/>
            <ac:grpSpMk id="20" creationId="{00000000-0000-0000-0000-000000000000}"/>
          </ac:grpSpMkLst>
        </pc:grpChg>
        <pc:picChg chg="mod">
          <ac:chgData name="Richardson Concha, Luis Enrique" userId="24a26401-76f9-4f62-bb1e-7d6980a282dd" providerId="ADAL" clId="{381FE82B-2BD3-403A-BE67-73F72757EBD2}" dt="2024-08-28T15:04:26.792" v="261" actId="1076"/>
          <ac:picMkLst>
            <pc:docMk/>
            <pc:sldMk cId="3612161864" sldId="2710"/>
            <ac:picMk id="22" creationId="{00000000-0000-0000-0000-000000000000}"/>
          </ac:picMkLst>
        </pc:picChg>
      </pc:sldChg>
      <pc:sldChg chg="modSp mod">
        <pc:chgData name="Richardson Concha, Luis Enrique" userId="24a26401-76f9-4f62-bb1e-7d6980a282dd" providerId="ADAL" clId="{381FE82B-2BD3-403A-BE67-73F72757EBD2}" dt="2024-08-28T15:05:51.769" v="267" actId="14100"/>
        <pc:sldMkLst>
          <pc:docMk/>
          <pc:sldMk cId="3063289084" sldId="2713"/>
        </pc:sldMkLst>
        <pc:spChg chg="mod">
          <ac:chgData name="Richardson Concha, Luis Enrique" userId="24a26401-76f9-4f62-bb1e-7d6980a282dd" providerId="ADAL" clId="{381FE82B-2BD3-403A-BE67-73F72757EBD2}" dt="2024-08-28T15:05:16.054" v="263" actId="2711"/>
          <ac:spMkLst>
            <pc:docMk/>
            <pc:sldMk cId="3063289084" sldId="2713"/>
            <ac:spMk id="10" creationId="{00000000-0000-0000-0000-000000000000}"/>
          </ac:spMkLst>
        </pc:spChg>
        <pc:spChg chg="mod">
          <ac:chgData name="Richardson Concha, Luis Enrique" userId="24a26401-76f9-4f62-bb1e-7d6980a282dd" providerId="ADAL" clId="{381FE82B-2BD3-403A-BE67-73F72757EBD2}" dt="2024-08-28T15:05:39.216" v="266" actId="2711"/>
          <ac:spMkLst>
            <pc:docMk/>
            <pc:sldMk cId="3063289084" sldId="2713"/>
            <ac:spMk id="13" creationId="{00000000-0000-0000-0000-000000000000}"/>
          </ac:spMkLst>
        </pc:spChg>
        <pc:spChg chg="mod">
          <ac:chgData name="Richardson Concha, Luis Enrique" userId="24a26401-76f9-4f62-bb1e-7d6980a282dd" providerId="ADAL" clId="{381FE82B-2BD3-403A-BE67-73F72757EBD2}" dt="2024-08-28T15:05:24.986" v="265" actId="14100"/>
          <ac:spMkLst>
            <pc:docMk/>
            <pc:sldMk cId="3063289084" sldId="2713"/>
            <ac:spMk id="16" creationId="{00000000-0000-0000-0000-000000000000}"/>
          </ac:spMkLst>
        </pc:spChg>
        <pc:spChg chg="mod">
          <ac:chgData name="Richardson Concha, Luis Enrique" userId="24a26401-76f9-4f62-bb1e-7d6980a282dd" providerId="ADAL" clId="{381FE82B-2BD3-403A-BE67-73F72757EBD2}" dt="2024-08-28T15:05:04.680" v="262" actId="2711"/>
          <ac:spMkLst>
            <pc:docMk/>
            <pc:sldMk cId="3063289084" sldId="2713"/>
            <ac:spMk id="21" creationId="{00000000-0000-0000-0000-000000000000}"/>
          </ac:spMkLst>
        </pc:spChg>
        <pc:grpChg chg="mod">
          <ac:chgData name="Richardson Concha, Luis Enrique" userId="24a26401-76f9-4f62-bb1e-7d6980a282dd" providerId="ADAL" clId="{381FE82B-2BD3-403A-BE67-73F72757EBD2}" dt="2024-08-28T15:05:51.769" v="267" actId="14100"/>
          <ac:grpSpMkLst>
            <pc:docMk/>
            <pc:sldMk cId="3063289084" sldId="2713"/>
            <ac:grpSpMk id="4" creationId="{00000000-0000-0000-0000-000000000000}"/>
          </ac:grpSpMkLst>
        </pc:grpChg>
      </pc:sldChg>
      <pc:sldChg chg="modSp mod">
        <pc:chgData name="Richardson Concha, Luis Enrique" userId="24a26401-76f9-4f62-bb1e-7d6980a282dd" providerId="ADAL" clId="{381FE82B-2BD3-403A-BE67-73F72757EBD2}" dt="2024-08-28T15:06:38.381" v="270" actId="113"/>
        <pc:sldMkLst>
          <pc:docMk/>
          <pc:sldMk cId="2615533515" sldId="2716"/>
        </pc:sldMkLst>
        <pc:spChg chg="mod">
          <ac:chgData name="Richardson Concha, Luis Enrique" userId="24a26401-76f9-4f62-bb1e-7d6980a282dd" providerId="ADAL" clId="{381FE82B-2BD3-403A-BE67-73F72757EBD2}" dt="2024-08-28T15:06:34.648" v="269" actId="113"/>
          <ac:spMkLst>
            <pc:docMk/>
            <pc:sldMk cId="2615533515" sldId="2716"/>
            <ac:spMk id="62" creationId="{00000000-0000-0000-0000-000000000000}"/>
          </ac:spMkLst>
        </pc:spChg>
        <pc:spChg chg="mod">
          <ac:chgData name="Richardson Concha, Luis Enrique" userId="24a26401-76f9-4f62-bb1e-7d6980a282dd" providerId="ADAL" clId="{381FE82B-2BD3-403A-BE67-73F72757EBD2}" dt="2024-08-28T15:06:38.381" v="270" actId="113"/>
          <ac:spMkLst>
            <pc:docMk/>
            <pc:sldMk cId="2615533515" sldId="2716"/>
            <ac:spMk id="63" creationId="{00000000-0000-0000-0000-000000000000}"/>
          </ac:spMkLst>
        </pc:spChg>
        <pc:spChg chg="mod">
          <ac:chgData name="Richardson Concha, Luis Enrique" userId="24a26401-76f9-4f62-bb1e-7d6980a282dd" providerId="ADAL" clId="{381FE82B-2BD3-403A-BE67-73F72757EBD2}" dt="2024-08-28T14:10:02.242" v="1" actId="2085"/>
          <ac:spMkLst>
            <pc:docMk/>
            <pc:sldMk cId="2615533515" sldId="2716"/>
            <ac:spMk id="65" creationId="{00000000-0000-0000-0000-000000000000}"/>
          </ac:spMkLst>
        </pc:spChg>
        <pc:spChg chg="mod">
          <ac:chgData name="Richardson Concha, Luis Enrique" userId="24a26401-76f9-4f62-bb1e-7d6980a282dd" providerId="ADAL" clId="{381FE82B-2BD3-403A-BE67-73F72757EBD2}" dt="2024-08-28T14:10:08.185" v="2" actId="2085"/>
          <ac:spMkLst>
            <pc:docMk/>
            <pc:sldMk cId="2615533515" sldId="2716"/>
            <ac:spMk id="66" creationId="{00000000-0000-0000-0000-000000000000}"/>
          </ac:spMkLst>
        </pc:spChg>
        <pc:spChg chg="mod">
          <ac:chgData name="Richardson Concha, Luis Enrique" userId="24a26401-76f9-4f62-bb1e-7d6980a282dd" providerId="ADAL" clId="{381FE82B-2BD3-403A-BE67-73F72757EBD2}" dt="2024-08-28T14:11:01.164" v="10" actId="14100"/>
          <ac:spMkLst>
            <pc:docMk/>
            <pc:sldMk cId="2615533515" sldId="2716"/>
            <ac:spMk id="67" creationId="{00000000-0000-0000-0000-000000000000}"/>
          </ac:spMkLst>
        </pc:spChg>
        <pc:spChg chg="mod">
          <ac:chgData name="Richardson Concha, Luis Enrique" userId="24a26401-76f9-4f62-bb1e-7d6980a282dd" providerId="ADAL" clId="{381FE82B-2BD3-403A-BE67-73F72757EBD2}" dt="2024-08-28T14:10:21.131" v="4" actId="2085"/>
          <ac:spMkLst>
            <pc:docMk/>
            <pc:sldMk cId="2615533515" sldId="2716"/>
            <ac:spMk id="69" creationId="{00000000-0000-0000-0000-000000000000}"/>
          </ac:spMkLst>
        </pc:spChg>
        <pc:spChg chg="mod">
          <ac:chgData name="Richardson Concha, Luis Enrique" userId="24a26401-76f9-4f62-bb1e-7d6980a282dd" providerId="ADAL" clId="{381FE82B-2BD3-403A-BE67-73F72757EBD2}" dt="2024-08-28T14:11:06.612" v="11" actId="1076"/>
          <ac:spMkLst>
            <pc:docMk/>
            <pc:sldMk cId="2615533515" sldId="2716"/>
            <ac:spMk id="70" creationId="{00000000-0000-0000-0000-000000000000}"/>
          </ac:spMkLst>
        </pc:spChg>
        <pc:spChg chg="mod">
          <ac:chgData name="Richardson Concha, Luis Enrique" userId="24a26401-76f9-4f62-bb1e-7d6980a282dd" providerId="ADAL" clId="{381FE82B-2BD3-403A-BE67-73F72757EBD2}" dt="2024-08-28T14:10:30.104" v="6" actId="2085"/>
          <ac:spMkLst>
            <pc:docMk/>
            <pc:sldMk cId="2615533515" sldId="2716"/>
            <ac:spMk id="71" creationId="{00000000-0000-0000-0000-000000000000}"/>
          </ac:spMkLst>
        </pc:spChg>
        <pc:spChg chg="mod">
          <ac:chgData name="Richardson Concha, Luis Enrique" userId="24a26401-76f9-4f62-bb1e-7d6980a282dd" providerId="ADAL" clId="{381FE82B-2BD3-403A-BE67-73F72757EBD2}" dt="2024-08-28T14:10:33.882" v="7" actId="2085"/>
          <ac:spMkLst>
            <pc:docMk/>
            <pc:sldMk cId="2615533515" sldId="2716"/>
            <ac:spMk id="72" creationId="{00000000-0000-0000-0000-000000000000}"/>
          </ac:spMkLst>
        </pc:spChg>
        <pc:spChg chg="mod">
          <ac:chgData name="Richardson Concha, Luis Enrique" userId="24a26401-76f9-4f62-bb1e-7d6980a282dd" providerId="ADAL" clId="{381FE82B-2BD3-403A-BE67-73F72757EBD2}" dt="2024-08-28T14:10:37.891" v="8" actId="2085"/>
          <ac:spMkLst>
            <pc:docMk/>
            <pc:sldMk cId="2615533515" sldId="2716"/>
            <ac:spMk id="73" creationId="{00000000-0000-0000-0000-000000000000}"/>
          </ac:spMkLst>
        </pc:spChg>
      </pc:sldChg>
      <pc:sldChg chg="modSp mod">
        <pc:chgData name="Richardson Concha, Luis Enrique" userId="24a26401-76f9-4f62-bb1e-7d6980a282dd" providerId="ADAL" clId="{381FE82B-2BD3-403A-BE67-73F72757EBD2}" dt="2024-08-28T15:07:52.072" v="275"/>
        <pc:sldMkLst>
          <pc:docMk/>
          <pc:sldMk cId="1834664180" sldId="2718"/>
        </pc:sldMkLst>
        <pc:graphicFrameChg chg="mod modGraphic">
          <ac:chgData name="Richardson Concha, Luis Enrique" userId="24a26401-76f9-4f62-bb1e-7d6980a282dd" providerId="ADAL" clId="{381FE82B-2BD3-403A-BE67-73F72757EBD2}" dt="2024-08-28T15:07:52.072" v="275"/>
          <ac:graphicFrameMkLst>
            <pc:docMk/>
            <pc:sldMk cId="1834664180" sldId="2718"/>
            <ac:graphicFrameMk id="10" creationId="{00000000-0000-0000-0000-000000000000}"/>
          </ac:graphicFrameMkLst>
        </pc:graphicFrameChg>
      </pc:sldChg>
      <pc:sldChg chg="modSp mod">
        <pc:chgData name="Richardson Concha, Luis Enrique" userId="24a26401-76f9-4f62-bb1e-7d6980a282dd" providerId="ADAL" clId="{381FE82B-2BD3-403A-BE67-73F72757EBD2}" dt="2024-08-28T15:08:23.907" v="279" actId="2085"/>
        <pc:sldMkLst>
          <pc:docMk/>
          <pc:sldMk cId="926799737" sldId="2719"/>
        </pc:sldMkLst>
        <pc:spChg chg="mod">
          <ac:chgData name="Richardson Concha, Luis Enrique" userId="24a26401-76f9-4f62-bb1e-7d6980a282dd" providerId="ADAL" clId="{381FE82B-2BD3-403A-BE67-73F72757EBD2}" dt="2024-08-28T15:08:23.907" v="279" actId="2085"/>
          <ac:spMkLst>
            <pc:docMk/>
            <pc:sldMk cId="926799737" sldId="2719"/>
            <ac:spMk id="19" creationId="{00000000-0000-0000-0000-000000000000}"/>
          </ac:spMkLst>
        </pc:spChg>
        <pc:spChg chg="mod">
          <ac:chgData name="Richardson Concha, Luis Enrique" userId="24a26401-76f9-4f62-bb1e-7d6980a282dd" providerId="ADAL" clId="{381FE82B-2BD3-403A-BE67-73F72757EBD2}" dt="2024-08-28T14:11:54.506" v="16" actId="2085"/>
          <ac:spMkLst>
            <pc:docMk/>
            <pc:sldMk cId="926799737" sldId="2719"/>
            <ac:spMk id="21" creationId="{00000000-0000-0000-0000-000000000000}"/>
          </ac:spMkLst>
        </pc:spChg>
        <pc:spChg chg="mod">
          <ac:chgData name="Richardson Concha, Luis Enrique" userId="24a26401-76f9-4f62-bb1e-7d6980a282dd" providerId="ADAL" clId="{381FE82B-2BD3-403A-BE67-73F72757EBD2}" dt="2024-08-28T14:11:40.876" v="14" actId="2085"/>
          <ac:spMkLst>
            <pc:docMk/>
            <pc:sldMk cId="926799737" sldId="2719"/>
            <ac:spMk id="22" creationId="{00000000-0000-0000-0000-000000000000}"/>
          </ac:spMkLst>
        </pc:spChg>
        <pc:spChg chg="mod">
          <ac:chgData name="Richardson Concha, Luis Enrique" userId="24a26401-76f9-4f62-bb1e-7d6980a282dd" providerId="ADAL" clId="{381FE82B-2BD3-403A-BE67-73F72757EBD2}" dt="2024-08-28T14:11:47.674" v="15" actId="2085"/>
          <ac:spMkLst>
            <pc:docMk/>
            <pc:sldMk cId="926799737" sldId="2719"/>
            <ac:spMk id="23" creationId="{00000000-0000-0000-0000-000000000000}"/>
          </ac:spMkLst>
        </pc:spChg>
        <pc:spChg chg="mod">
          <ac:chgData name="Richardson Concha, Luis Enrique" userId="24a26401-76f9-4f62-bb1e-7d6980a282dd" providerId="ADAL" clId="{381FE82B-2BD3-403A-BE67-73F72757EBD2}" dt="2024-08-28T14:13:11.696" v="21" actId="2085"/>
          <ac:spMkLst>
            <pc:docMk/>
            <pc:sldMk cId="926799737" sldId="2719"/>
            <ac:spMk id="24" creationId="{00000000-0000-0000-0000-000000000000}"/>
          </ac:spMkLst>
        </pc:spChg>
        <pc:spChg chg="mod">
          <ac:chgData name="Richardson Concha, Luis Enrique" userId="24a26401-76f9-4f62-bb1e-7d6980a282dd" providerId="ADAL" clId="{381FE82B-2BD3-403A-BE67-73F72757EBD2}" dt="2024-08-28T14:13:01.306" v="18" actId="2085"/>
          <ac:spMkLst>
            <pc:docMk/>
            <pc:sldMk cId="926799737" sldId="2719"/>
            <ac:spMk id="25" creationId="{00000000-0000-0000-0000-000000000000}"/>
          </ac:spMkLst>
        </pc:spChg>
        <pc:spChg chg="mod">
          <ac:chgData name="Richardson Concha, Luis Enrique" userId="24a26401-76f9-4f62-bb1e-7d6980a282dd" providerId="ADAL" clId="{381FE82B-2BD3-403A-BE67-73F72757EBD2}" dt="2024-08-28T14:12:04.417" v="17" actId="2085"/>
          <ac:spMkLst>
            <pc:docMk/>
            <pc:sldMk cId="926799737" sldId="2719"/>
            <ac:spMk id="27" creationId="{00000000-0000-0000-0000-000000000000}"/>
          </ac:spMkLst>
        </pc:spChg>
        <pc:spChg chg="mod">
          <ac:chgData name="Richardson Concha, Luis Enrique" userId="24a26401-76f9-4f62-bb1e-7d6980a282dd" providerId="ADAL" clId="{381FE82B-2BD3-403A-BE67-73F72757EBD2}" dt="2024-08-28T14:13:25.841" v="22" actId="2085"/>
          <ac:spMkLst>
            <pc:docMk/>
            <pc:sldMk cId="926799737" sldId="2719"/>
            <ac:spMk id="30" creationId="{00000000-0000-0000-0000-000000000000}"/>
          </ac:spMkLst>
        </pc:spChg>
        <pc:spChg chg="mod">
          <ac:chgData name="Richardson Concha, Luis Enrique" userId="24a26401-76f9-4f62-bb1e-7d6980a282dd" providerId="ADAL" clId="{381FE82B-2BD3-403A-BE67-73F72757EBD2}" dt="2024-08-28T14:13:05.378" v="19" actId="2085"/>
          <ac:spMkLst>
            <pc:docMk/>
            <pc:sldMk cId="926799737" sldId="2719"/>
            <ac:spMk id="33" creationId="{00000000-0000-0000-0000-000000000000}"/>
          </ac:spMkLst>
        </pc:spChg>
        <pc:spChg chg="mod">
          <ac:chgData name="Richardson Concha, Luis Enrique" userId="24a26401-76f9-4f62-bb1e-7d6980a282dd" providerId="ADAL" clId="{381FE82B-2BD3-403A-BE67-73F72757EBD2}" dt="2024-08-28T14:13:34.929" v="23" actId="2085"/>
          <ac:spMkLst>
            <pc:docMk/>
            <pc:sldMk cId="926799737" sldId="2719"/>
            <ac:spMk id="34" creationId="{00000000-0000-0000-0000-000000000000}"/>
          </ac:spMkLst>
        </pc:spChg>
        <pc:spChg chg="mod">
          <ac:chgData name="Richardson Concha, Luis Enrique" userId="24a26401-76f9-4f62-bb1e-7d6980a282dd" providerId="ADAL" clId="{381FE82B-2BD3-403A-BE67-73F72757EBD2}" dt="2024-08-28T14:13:40.012" v="24" actId="2085"/>
          <ac:spMkLst>
            <pc:docMk/>
            <pc:sldMk cId="926799737" sldId="2719"/>
            <ac:spMk id="39" creationId="{00000000-0000-0000-0000-000000000000}"/>
          </ac:spMkLst>
        </pc:spChg>
      </pc:sldChg>
      <pc:sldChg chg="addSp delSp modSp add mod">
        <pc:chgData name="Richardson Concha, Luis Enrique" userId="24a26401-76f9-4f62-bb1e-7d6980a282dd" providerId="ADAL" clId="{381FE82B-2BD3-403A-BE67-73F72757EBD2}" dt="2024-08-28T15:08:51.877" v="281" actId="403"/>
        <pc:sldMkLst>
          <pc:docMk/>
          <pc:sldMk cId="789181034" sldId="2720"/>
        </pc:sldMkLst>
        <pc:spChg chg="mod">
          <ac:chgData name="Richardson Concha, Luis Enrique" userId="24a26401-76f9-4f62-bb1e-7d6980a282dd" providerId="ADAL" clId="{381FE82B-2BD3-403A-BE67-73F72757EBD2}" dt="2024-08-28T14:25:58.129" v="42" actId="692"/>
          <ac:spMkLst>
            <pc:docMk/>
            <pc:sldMk cId="789181034" sldId="2720"/>
            <ac:spMk id="4" creationId="{B7E6E1AF-FE30-5291-E6F3-8CB500091102}"/>
          </ac:spMkLst>
        </pc:spChg>
        <pc:spChg chg="mod">
          <ac:chgData name="Richardson Concha, Luis Enrique" userId="24a26401-76f9-4f62-bb1e-7d6980a282dd" providerId="ADAL" clId="{381FE82B-2BD3-403A-BE67-73F72757EBD2}" dt="2024-08-28T14:24:38.941" v="36" actId="2711"/>
          <ac:spMkLst>
            <pc:docMk/>
            <pc:sldMk cId="789181034" sldId="2720"/>
            <ac:spMk id="5" creationId="{92AC8AED-04AB-4F58-4059-6F7FB5B9669F}"/>
          </ac:spMkLst>
        </pc:spChg>
        <pc:spChg chg="mod">
          <ac:chgData name="Richardson Concha, Luis Enrique" userId="24a26401-76f9-4f62-bb1e-7d6980a282dd" providerId="ADAL" clId="{381FE82B-2BD3-403A-BE67-73F72757EBD2}" dt="2024-08-28T14:26:06.359" v="43" actId="692"/>
          <ac:spMkLst>
            <pc:docMk/>
            <pc:sldMk cId="789181034" sldId="2720"/>
            <ac:spMk id="8" creationId="{3AA4371F-9F97-07AC-503E-60C88E08504D}"/>
          </ac:spMkLst>
        </pc:spChg>
        <pc:spChg chg="mod">
          <ac:chgData name="Richardson Concha, Luis Enrique" userId="24a26401-76f9-4f62-bb1e-7d6980a282dd" providerId="ADAL" clId="{381FE82B-2BD3-403A-BE67-73F72757EBD2}" dt="2024-08-28T14:24:38.941" v="36" actId="2711"/>
          <ac:spMkLst>
            <pc:docMk/>
            <pc:sldMk cId="789181034" sldId="2720"/>
            <ac:spMk id="9" creationId="{8021435A-B7BD-76EB-4A06-529B00B89206}"/>
          </ac:spMkLst>
        </pc:spChg>
        <pc:spChg chg="mod">
          <ac:chgData name="Richardson Concha, Luis Enrique" userId="24a26401-76f9-4f62-bb1e-7d6980a282dd" providerId="ADAL" clId="{381FE82B-2BD3-403A-BE67-73F72757EBD2}" dt="2024-08-28T14:26:14.455" v="44" actId="692"/>
          <ac:spMkLst>
            <pc:docMk/>
            <pc:sldMk cId="789181034" sldId="2720"/>
            <ac:spMk id="11" creationId="{1E905858-BD7F-48DC-D96E-5D65B78AAB21}"/>
          </ac:spMkLst>
        </pc:spChg>
        <pc:spChg chg="mod">
          <ac:chgData name="Richardson Concha, Luis Enrique" userId="24a26401-76f9-4f62-bb1e-7d6980a282dd" providerId="ADAL" clId="{381FE82B-2BD3-403A-BE67-73F72757EBD2}" dt="2024-08-28T14:24:38.941" v="36" actId="2711"/>
          <ac:spMkLst>
            <pc:docMk/>
            <pc:sldMk cId="789181034" sldId="2720"/>
            <ac:spMk id="12" creationId="{E39D0DD8-5F06-D4EF-80F0-D6DB745C3472}"/>
          </ac:spMkLst>
        </pc:spChg>
        <pc:spChg chg="mod">
          <ac:chgData name="Richardson Concha, Luis Enrique" userId="24a26401-76f9-4f62-bb1e-7d6980a282dd" providerId="ADAL" clId="{381FE82B-2BD3-403A-BE67-73F72757EBD2}" dt="2024-08-28T14:26:20.268" v="45" actId="692"/>
          <ac:spMkLst>
            <pc:docMk/>
            <pc:sldMk cId="789181034" sldId="2720"/>
            <ac:spMk id="14" creationId="{C1C5C83C-962E-3C6E-B344-A5D54BE6AB57}"/>
          </ac:spMkLst>
        </pc:spChg>
        <pc:spChg chg="mod">
          <ac:chgData name="Richardson Concha, Luis Enrique" userId="24a26401-76f9-4f62-bb1e-7d6980a282dd" providerId="ADAL" clId="{381FE82B-2BD3-403A-BE67-73F72757EBD2}" dt="2024-08-28T15:08:51.877" v="281" actId="403"/>
          <ac:spMkLst>
            <pc:docMk/>
            <pc:sldMk cId="789181034" sldId="2720"/>
            <ac:spMk id="15" creationId="{AA56C0DB-8DAF-75B8-EB2C-DB02E5296C2D}"/>
          </ac:spMkLst>
        </pc:spChg>
        <pc:spChg chg="del">
          <ac:chgData name="Richardson Concha, Luis Enrique" userId="24a26401-76f9-4f62-bb1e-7d6980a282dd" providerId="ADAL" clId="{381FE82B-2BD3-403A-BE67-73F72757EBD2}" dt="2024-08-28T14:23:44.460" v="31" actId="478"/>
          <ac:spMkLst>
            <pc:docMk/>
            <pc:sldMk cId="789181034" sldId="2720"/>
            <ac:spMk id="18" creationId="{00000000-0000-0000-0000-000000000000}"/>
          </ac:spMkLst>
        </pc:spChg>
        <pc:spChg chg="del">
          <ac:chgData name="Richardson Concha, Luis Enrique" userId="24a26401-76f9-4f62-bb1e-7d6980a282dd" providerId="ADAL" clId="{381FE82B-2BD3-403A-BE67-73F72757EBD2}" dt="2024-08-28T14:23:38.773" v="30" actId="478"/>
          <ac:spMkLst>
            <pc:docMk/>
            <pc:sldMk cId="789181034" sldId="2720"/>
            <ac:spMk id="19"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0"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1"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2"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3"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4"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5"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6"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7"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29"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0"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1"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3"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4" creationId="{00000000-0000-0000-0000-000000000000}"/>
          </ac:spMkLst>
        </pc:spChg>
        <pc:spChg chg="del">
          <ac:chgData name="Richardson Concha, Luis Enrique" userId="24a26401-76f9-4f62-bb1e-7d6980a282dd" providerId="ADAL" clId="{381FE82B-2BD3-403A-BE67-73F72757EBD2}" dt="2024-08-28T14:23:48.170" v="32" actId="478"/>
          <ac:spMkLst>
            <pc:docMk/>
            <pc:sldMk cId="789181034" sldId="2720"/>
            <ac:spMk id="35" creationId="{00000000-0000-0000-0000-000000000000}"/>
          </ac:spMkLst>
        </pc:spChg>
        <pc:spChg chg="mod">
          <ac:chgData name="Richardson Concha, Luis Enrique" userId="24a26401-76f9-4f62-bb1e-7d6980a282dd" providerId="ADAL" clId="{381FE82B-2BD3-403A-BE67-73F72757EBD2}" dt="2024-08-28T14:23:53.938" v="33"/>
          <ac:spMkLst>
            <pc:docMk/>
            <pc:sldMk cId="789181034" sldId="2720"/>
            <ac:spMk id="36" creationId="{F9506A3C-ED6C-864E-946A-28D52CFBE7C1}"/>
          </ac:spMkLst>
        </pc:spChg>
        <pc:spChg chg="del">
          <ac:chgData name="Richardson Concha, Luis Enrique" userId="24a26401-76f9-4f62-bb1e-7d6980a282dd" providerId="ADAL" clId="{381FE82B-2BD3-403A-BE67-73F72757EBD2}" dt="2024-08-28T14:23:44.460" v="31" actId="478"/>
          <ac:spMkLst>
            <pc:docMk/>
            <pc:sldMk cId="789181034" sldId="2720"/>
            <ac:spMk id="37"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8" creationId="{00000000-0000-0000-0000-000000000000}"/>
          </ac:spMkLst>
        </pc:spChg>
        <pc:spChg chg="del">
          <ac:chgData name="Richardson Concha, Luis Enrique" userId="24a26401-76f9-4f62-bb1e-7d6980a282dd" providerId="ADAL" clId="{381FE82B-2BD3-403A-BE67-73F72757EBD2}" dt="2024-08-28T14:23:44.460" v="31" actId="478"/>
          <ac:spMkLst>
            <pc:docMk/>
            <pc:sldMk cId="789181034" sldId="2720"/>
            <ac:spMk id="39" creationId="{00000000-0000-0000-0000-000000000000}"/>
          </ac:spMkLst>
        </pc:spChg>
        <pc:grpChg chg="add mod">
          <ac:chgData name="Richardson Concha, Luis Enrique" userId="24a26401-76f9-4f62-bb1e-7d6980a282dd" providerId="ADAL" clId="{381FE82B-2BD3-403A-BE67-73F72757EBD2}" dt="2024-08-28T14:24:26.448" v="35" actId="1076"/>
          <ac:grpSpMkLst>
            <pc:docMk/>
            <pc:sldMk cId="789181034" sldId="2720"/>
            <ac:grpSpMk id="2" creationId="{F152676A-59F4-E5DB-1AD1-0C472A0794B3}"/>
          </ac:grpSpMkLst>
        </pc:grpChg>
        <pc:grpChg chg="add mod">
          <ac:chgData name="Richardson Concha, Luis Enrique" userId="24a26401-76f9-4f62-bb1e-7d6980a282dd" providerId="ADAL" clId="{381FE82B-2BD3-403A-BE67-73F72757EBD2}" dt="2024-08-28T14:24:26.448" v="35" actId="1076"/>
          <ac:grpSpMkLst>
            <pc:docMk/>
            <pc:sldMk cId="789181034" sldId="2720"/>
            <ac:grpSpMk id="7" creationId="{980BA7B3-FBD5-5F04-3D03-BB30CE258BBB}"/>
          </ac:grpSpMkLst>
        </pc:grpChg>
        <pc:grpChg chg="add mod">
          <ac:chgData name="Richardson Concha, Luis Enrique" userId="24a26401-76f9-4f62-bb1e-7d6980a282dd" providerId="ADAL" clId="{381FE82B-2BD3-403A-BE67-73F72757EBD2}" dt="2024-08-28T14:24:26.448" v="35" actId="1076"/>
          <ac:grpSpMkLst>
            <pc:docMk/>
            <pc:sldMk cId="789181034" sldId="2720"/>
            <ac:grpSpMk id="10" creationId="{95156128-31A3-F910-68E1-5A3EBD764334}"/>
          </ac:grpSpMkLst>
        </pc:grpChg>
        <pc:grpChg chg="add mod">
          <ac:chgData name="Richardson Concha, Luis Enrique" userId="24a26401-76f9-4f62-bb1e-7d6980a282dd" providerId="ADAL" clId="{381FE82B-2BD3-403A-BE67-73F72757EBD2}" dt="2024-08-28T14:24:26.448" v="35" actId="1076"/>
          <ac:grpSpMkLst>
            <pc:docMk/>
            <pc:sldMk cId="789181034" sldId="2720"/>
            <ac:grpSpMk id="13" creationId="{A8A467A9-D8E2-F7F6-BF8D-6FAB8D470FD1}"/>
          </ac:grpSpMkLst>
        </pc:grpChg>
        <pc:picChg chg="add mod">
          <ac:chgData name="Richardson Concha, Luis Enrique" userId="24a26401-76f9-4f62-bb1e-7d6980a282dd" providerId="ADAL" clId="{381FE82B-2BD3-403A-BE67-73F72757EBD2}" dt="2024-08-28T14:24:56.412" v="37"/>
          <ac:picMkLst>
            <pc:docMk/>
            <pc:sldMk cId="789181034" sldId="2720"/>
            <ac:picMk id="42" creationId="{56A53E1C-73BF-DD3E-E2C5-C5D08DAFD321}"/>
          </ac:picMkLst>
        </pc:picChg>
        <pc:cxnChg chg="add mod">
          <ac:chgData name="Richardson Concha, Luis Enrique" userId="24a26401-76f9-4f62-bb1e-7d6980a282dd" providerId="ADAL" clId="{381FE82B-2BD3-403A-BE67-73F72757EBD2}" dt="2024-08-28T14:25:35.998" v="40" actId="692"/>
          <ac:cxnSpMkLst>
            <pc:docMk/>
            <pc:sldMk cId="789181034" sldId="2720"/>
            <ac:cxnSpMk id="16" creationId="{29C2211A-E0FA-A69A-A090-A35F2D75E0C1}"/>
          </ac:cxnSpMkLst>
        </pc:cxnChg>
        <pc:cxnChg chg="del">
          <ac:chgData name="Richardson Concha, Luis Enrique" userId="24a26401-76f9-4f62-bb1e-7d6980a282dd" providerId="ADAL" clId="{381FE82B-2BD3-403A-BE67-73F72757EBD2}" dt="2024-08-28T14:23:44.460" v="31" actId="478"/>
          <ac:cxnSpMkLst>
            <pc:docMk/>
            <pc:sldMk cId="789181034" sldId="2720"/>
            <ac:cxnSpMk id="28" creationId="{00000000-0000-0000-0000-000000000000}"/>
          </ac:cxnSpMkLst>
        </pc:cxnChg>
        <pc:cxnChg chg="del">
          <ac:chgData name="Richardson Concha, Luis Enrique" userId="24a26401-76f9-4f62-bb1e-7d6980a282dd" providerId="ADAL" clId="{381FE82B-2BD3-403A-BE67-73F72757EBD2}" dt="2024-08-28T14:23:44.460" v="31" actId="478"/>
          <ac:cxnSpMkLst>
            <pc:docMk/>
            <pc:sldMk cId="789181034" sldId="2720"/>
            <ac:cxnSpMk id="32" creationId="{00000000-0000-0000-0000-000000000000}"/>
          </ac:cxnSpMkLst>
        </pc:cxnChg>
        <pc:cxnChg chg="add mod">
          <ac:chgData name="Richardson Concha, Luis Enrique" userId="24a26401-76f9-4f62-bb1e-7d6980a282dd" providerId="ADAL" clId="{381FE82B-2BD3-403A-BE67-73F72757EBD2}" dt="2024-08-28T14:25:29.414" v="39" actId="692"/>
          <ac:cxnSpMkLst>
            <pc:docMk/>
            <pc:sldMk cId="789181034" sldId="2720"/>
            <ac:cxnSpMk id="40" creationId="{146BFF24-4564-9237-060C-423566445DB5}"/>
          </ac:cxnSpMkLst>
        </pc:cxnChg>
        <pc:cxnChg chg="add mod">
          <ac:chgData name="Richardson Concha, Luis Enrique" userId="24a26401-76f9-4f62-bb1e-7d6980a282dd" providerId="ADAL" clId="{381FE82B-2BD3-403A-BE67-73F72757EBD2}" dt="2024-08-28T14:25:42.475" v="41" actId="692"/>
          <ac:cxnSpMkLst>
            <pc:docMk/>
            <pc:sldMk cId="789181034" sldId="2720"/>
            <ac:cxnSpMk id="41" creationId="{40931286-5C45-A825-0976-663F2FCE2669}"/>
          </ac:cxnSpMkLst>
        </pc:cxnChg>
      </pc:sldChg>
      <pc:sldChg chg="addSp delSp modSp add mod ord">
        <pc:chgData name="Richardson Concha, Luis Enrique" userId="24a26401-76f9-4f62-bb1e-7d6980a282dd" providerId="ADAL" clId="{381FE82B-2BD3-403A-BE67-73F72757EBD2}" dt="2024-08-28T14:30:40.671" v="77" actId="27107"/>
        <pc:sldMkLst>
          <pc:docMk/>
          <pc:sldMk cId="3779621675" sldId="2721"/>
        </pc:sldMkLst>
        <pc:spChg chg="add mod">
          <ac:chgData name="Richardson Concha, Luis Enrique" userId="24a26401-76f9-4f62-bb1e-7d6980a282dd" providerId="ADAL" clId="{381FE82B-2BD3-403A-BE67-73F72757EBD2}" dt="2024-08-28T14:29:15.764" v="71"/>
          <ac:spMkLst>
            <pc:docMk/>
            <pc:sldMk cId="3779621675" sldId="2721"/>
            <ac:spMk id="4" creationId="{E6785E29-2FED-4D2A-2F1C-AAC129D9AFE5}"/>
          </ac:spMkLst>
        </pc:spChg>
        <pc:spChg chg="mod">
          <ac:chgData name="Richardson Concha, Luis Enrique" userId="24a26401-76f9-4f62-bb1e-7d6980a282dd" providerId="ADAL" clId="{381FE82B-2BD3-403A-BE67-73F72757EBD2}" dt="2024-08-28T14:30:11.523" v="75" actId="2085"/>
          <ac:spMkLst>
            <pc:docMk/>
            <pc:sldMk cId="3779621675" sldId="2721"/>
            <ac:spMk id="7" creationId="{558621E6-2141-5174-D8A5-3FCB4894F42A}"/>
          </ac:spMkLst>
        </pc:spChg>
        <pc:spChg chg="mod">
          <ac:chgData name="Richardson Concha, Luis Enrique" userId="24a26401-76f9-4f62-bb1e-7d6980a282dd" providerId="ADAL" clId="{381FE82B-2BD3-403A-BE67-73F72757EBD2}" dt="2024-08-28T14:30:40.671" v="77" actId="27107"/>
          <ac:spMkLst>
            <pc:docMk/>
            <pc:sldMk cId="3779621675" sldId="2721"/>
            <ac:spMk id="8" creationId="{83C61868-98DF-BA88-990E-05650766C133}"/>
          </ac:spMkLst>
        </pc:spChg>
        <pc:spChg chg="mod ord">
          <ac:chgData name="Richardson Concha, Luis Enrique" userId="24a26401-76f9-4f62-bb1e-7d6980a282dd" providerId="ADAL" clId="{381FE82B-2BD3-403A-BE67-73F72757EBD2}" dt="2024-08-28T14:27:40.403" v="63" actId="27107"/>
          <ac:spMkLst>
            <pc:docMk/>
            <pc:sldMk cId="3779621675" sldId="2721"/>
            <ac:spMk id="17" creationId="{BFBD94C6-FF5E-924E-A4E6-F9CEF0E1FFE5}"/>
          </ac:spMkLst>
        </pc:spChg>
        <pc:spChg chg="mod ord">
          <ac:chgData name="Richardson Concha, Luis Enrique" userId="24a26401-76f9-4f62-bb1e-7d6980a282dd" providerId="ADAL" clId="{381FE82B-2BD3-403A-BE67-73F72757EBD2}" dt="2024-08-28T14:28:50.096" v="70" actId="20577"/>
          <ac:spMkLst>
            <pc:docMk/>
            <pc:sldMk cId="3779621675" sldId="2721"/>
            <ac:spMk id="36" creationId="{F9506A3C-ED6C-864E-946A-28D52CFBE7C1}"/>
          </ac:spMkLst>
        </pc:spChg>
        <pc:grpChg chg="add mod">
          <ac:chgData name="Richardson Concha, Luis Enrique" userId="24a26401-76f9-4f62-bb1e-7d6980a282dd" providerId="ADAL" clId="{381FE82B-2BD3-403A-BE67-73F72757EBD2}" dt="2024-08-28T14:29:28.868" v="73" actId="1076"/>
          <ac:grpSpMkLst>
            <pc:docMk/>
            <pc:sldMk cId="3779621675" sldId="2721"/>
            <ac:grpSpMk id="5" creationId="{85A47503-B0C2-2141-90E5-435E08B7750F}"/>
          </ac:grpSpMkLst>
        </pc:grpChg>
        <pc:graphicFrameChg chg="mod">
          <ac:chgData name="Richardson Concha, Luis Enrique" userId="24a26401-76f9-4f62-bb1e-7d6980a282dd" providerId="ADAL" clId="{381FE82B-2BD3-403A-BE67-73F72757EBD2}" dt="2024-08-28T14:27:23.413" v="61"/>
          <ac:graphicFrameMkLst>
            <pc:docMk/>
            <pc:sldMk cId="3779621675" sldId="2721"/>
            <ac:graphicFrameMk id="6" creationId="{7916D848-0D74-682B-2059-D4867C0BDEEE}"/>
          </ac:graphicFrameMkLst>
        </pc:graphicFrameChg>
        <pc:graphicFrameChg chg="del">
          <ac:chgData name="Richardson Concha, Luis Enrique" userId="24a26401-76f9-4f62-bb1e-7d6980a282dd" providerId="ADAL" clId="{381FE82B-2BD3-403A-BE67-73F72757EBD2}" dt="2024-08-28T14:27:19.236" v="50" actId="478"/>
          <ac:graphicFrameMkLst>
            <pc:docMk/>
            <pc:sldMk cId="3779621675" sldId="2721"/>
            <ac:graphicFrameMk id="10" creationId="{00000000-0000-0000-0000-000000000000}"/>
          </ac:graphicFrameMkLst>
        </pc:graphicFrameChg>
        <pc:picChg chg="add mod ord">
          <ac:chgData name="Richardson Concha, Luis Enrique" userId="24a26401-76f9-4f62-bb1e-7d6980a282dd" providerId="ADAL" clId="{381FE82B-2BD3-403A-BE67-73F72757EBD2}" dt="2024-08-28T14:27:23.406" v="53"/>
          <ac:picMkLst>
            <pc:docMk/>
            <pc:sldMk cId="3779621675" sldId="2721"/>
            <ac:picMk id="2" creationId="{D2D5A5D7-BEFF-66AD-E9CE-8E8F3F80A090}"/>
          </ac:picMkLst>
        </pc:picChg>
        <pc:picChg chg="mod ord">
          <ac:chgData name="Richardson Concha, Luis Enrique" userId="24a26401-76f9-4f62-bb1e-7d6980a282dd" providerId="ADAL" clId="{381FE82B-2BD3-403A-BE67-73F72757EBD2}" dt="2024-08-28T14:27:23.409" v="59"/>
          <ac:picMkLst>
            <pc:docMk/>
            <pc:sldMk cId="3779621675" sldId="2721"/>
            <ac:picMk id="3" creationId="{E326459A-0391-08B7-78AF-F69E865FCF45}"/>
          </ac:picMkLst>
        </pc:picChg>
      </pc:sldChg>
      <pc:sldChg chg="addSp delSp modSp add mod">
        <pc:chgData name="Richardson Concha, Luis Enrique" userId="24a26401-76f9-4f62-bb1e-7d6980a282dd" providerId="ADAL" clId="{381FE82B-2BD3-403A-BE67-73F72757EBD2}" dt="2024-08-28T14:57:11.001" v="255" actId="478"/>
        <pc:sldMkLst>
          <pc:docMk/>
          <pc:sldMk cId="1747244820" sldId="2722"/>
        </pc:sldMkLst>
        <pc:spChg chg="mod">
          <ac:chgData name="Richardson Concha, Luis Enrique" userId="24a26401-76f9-4f62-bb1e-7d6980a282dd" providerId="ADAL" clId="{381FE82B-2BD3-403A-BE67-73F72757EBD2}" dt="2024-08-28T14:31:22.447" v="82" actId="14100"/>
          <ac:spMkLst>
            <pc:docMk/>
            <pc:sldMk cId="1747244820" sldId="2722"/>
            <ac:spMk id="36" creationId="{F9506A3C-ED6C-864E-946A-28D52CFBE7C1}"/>
          </ac:spMkLst>
        </pc:spChg>
        <pc:grpChg chg="del">
          <ac:chgData name="Richardson Concha, Luis Enrique" userId="24a26401-76f9-4f62-bb1e-7d6980a282dd" providerId="ADAL" clId="{381FE82B-2BD3-403A-BE67-73F72757EBD2}" dt="2024-08-28T14:31:24.175" v="83" actId="478"/>
          <ac:grpSpMkLst>
            <pc:docMk/>
            <pc:sldMk cId="1747244820" sldId="2722"/>
            <ac:grpSpMk id="5" creationId="{85A47503-B0C2-2141-90E5-435E08B7750F}"/>
          </ac:grpSpMkLst>
        </pc:grpChg>
        <pc:graphicFrameChg chg="add del mod modGraphic">
          <ac:chgData name="Richardson Concha, Luis Enrique" userId="24a26401-76f9-4f62-bb1e-7d6980a282dd" providerId="ADAL" clId="{381FE82B-2BD3-403A-BE67-73F72757EBD2}" dt="2024-08-28T14:49:36.283" v="179" actId="478"/>
          <ac:graphicFrameMkLst>
            <pc:docMk/>
            <pc:sldMk cId="1747244820" sldId="2722"/>
            <ac:graphicFrameMk id="4" creationId="{5A79F811-0A48-11CD-3242-B9E51C085200}"/>
          </ac:graphicFrameMkLst>
        </pc:graphicFrameChg>
        <pc:graphicFrameChg chg="add mod">
          <ac:chgData name="Richardson Concha, Luis Enrique" userId="24a26401-76f9-4f62-bb1e-7d6980a282dd" providerId="ADAL" clId="{381FE82B-2BD3-403A-BE67-73F72757EBD2}" dt="2024-08-28T14:42:34.187" v="113"/>
          <ac:graphicFrameMkLst>
            <pc:docMk/>
            <pc:sldMk cId="1747244820" sldId="2722"/>
            <ac:graphicFrameMk id="11" creationId="{83955D0F-0919-F6B1-4A30-78047917D65E}"/>
          </ac:graphicFrameMkLst>
        </pc:graphicFrameChg>
        <pc:graphicFrameChg chg="add mod">
          <ac:chgData name="Richardson Concha, Luis Enrique" userId="24a26401-76f9-4f62-bb1e-7d6980a282dd" providerId="ADAL" clId="{381FE82B-2BD3-403A-BE67-73F72757EBD2}" dt="2024-08-28T14:43:20.362" v="123"/>
          <ac:graphicFrameMkLst>
            <pc:docMk/>
            <pc:sldMk cId="1747244820" sldId="2722"/>
            <ac:graphicFrameMk id="12" creationId="{26F161D1-9102-AA80-A334-66A76476F5DE}"/>
          </ac:graphicFrameMkLst>
        </pc:graphicFrameChg>
        <pc:graphicFrameChg chg="add del mod">
          <ac:chgData name="Richardson Concha, Luis Enrique" userId="24a26401-76f9-4f62-bb1e-7d6980a282dd" providerId="ADAL" clId="{381FE82B-2BD3-403A-BE67-73F72757EBD2}" dt="2024-08-28T14:57:11.001" v="255" actId="478"/>
          <ac:graphicFrameMkLst>
            <pc:docMk/>
            <pc:sldMk cId="1747244820" sldId="2722"/>
            <ac:graphicFrameMk id="13" creationId="{435238D5-2B24-0F26-AF35-D398BABD0833}"/>
          </ac:graphicFrameMkLst>
        </pc:graphicFrameChg>
        <pc:graphicFrameChg chg="add del mod">
          <ac:chgData name="Richardson Concha, Luis Enrique" userId="24a26401-76f9-4f62-bb1e-7d6980a282dd" providerId="ADAL" clId="{381FE82B-2BD3-403A-BE67-73F72757EBD2}" dt="2024-08-28T14:50:34.747" v="191" actId="478"/>
          <ac:graphicFrameMkLst>
            <pc:docMk/>
            <pc:sldMk cId="1747244820" sldId="2722"/>
            <ac:graphicFrameMk id="14" creationId="{F97D1816-5F7A-529C-A2ED-F0285311527E}"/>
          </ac:graphicFrameMkLst>
        </pc:graphicFrameChg>
        <pc:graphicFrameChg chg="add del mod">
          <ac:chgData name="Richardson Concha, Luis Enrique" userId="24a26401-76f9-4f62-bb1e-7d6980a282dd" providerId="ADAL" clId="{381FE82B-2BD3-403A-BE67-73F72757EBD2}" dt="2024-08-28T14:57:11.001" v="255" actId="478"/>
          <ac:graphicFrameMkLst>
            <pc:docMk/>
            <pc:sldMk cId="1747244820" sldId="2722"/>
            <ac:graphicFrameMk id="15" creationId="{464747A1-2380-CD6E-0907-7E879A140BCD}"/>
          </ac:graphicFrameMkLst>
        </pc:graphicFrameChg>
        <pc:graphicFrameChg chg="add mod modGraphic">
          <ac:chgData name="Richardson Concha, Luis Enrique" userId="24a26401-76f9-4f62-bb1e-7d6980a282dd" providerId="ADAL" clId="{381FE82B-2BD3-403A-BE67-73F72757EBD2}" dt="2024-08-28T14:57:08.024" v="254" actId="1076"/>
          <ac:graphicFrameMkLst>
            <pc:docMk/>
            <pc:sldMk cId="1747244820" sldId="2722"/>
            <ac:graphicFrameMk id="16" creationId="{3A5F9DD5-8E83-F9E6-BEB6-FB133EEE49DD}"/>
          </ac:graphicFrameMkLst>
        </pc:graphicFrameChg>
        <pc:graphicFrameChg chg="add mod modGraphic">
          <ac:chgData name="Richardson Concha, Luis Enrique" userId="24a26401-76f9-4f62-bb1e-7d6980a282dd" providerId="ADAL" clId="{381FE82B-2BD3-403A-BE67-73F72757EBD2}" dt="2024-08-28T14:57:08.024" v="254" actId="1076"/>
          <ac:graphicFrameMkLst>
            <pc:docMk/>
            <pc:sldMk cId="1747244820" sldId="2722"/>
            <ac:graphicFrameMk id="18" creationId="{5ADCAE57-B2B6-F519-13D9-A7C97BB748E6}"/>
          </ac:graphicFrameMkLst>
        </pc:graphicFrameChg>
        <pc:picChg chg="del">
          <ac:chgData name="Richardson Concha, Luis Enrique" userId="24a26401-76f9-4f62-bb1e-7d6980a282dd" providerId="ADAL" clId="{381FE82B-2BD3-403A-BE67-73F72757EBD2}" dt="2024-08-28T14:31:18.479" v="81" actId="478"/>
          <ac:picMkLst>
            <pc:docMk/>
            <pc:sldMk cId="1747244820" sldId="2722"/>
            <ac:picMk id="2" creationId="{D2D5A5D7-BEFF-66AD-E9CE-8E8F3F80A090}"/>
          </ac:picMkLst>
        </pc:picChg>
        <pc:picChg chg="add mod">
          <ac:chgData name="Richardson Concha, Luis Enrique" userId="24a26401-76f9-4f62-bb1e-7d6980a282dd" providerId="ADAL" clId="{381FE82B-2BD3-403A-BE67-73F72757EBD2}" dt="2024-08-28T14:57:08.024" v="254" actId="1076"/>
          <ac:picMkLst>
            <pc:docMk/>
            <pc:sldMk cId="1747244820" sldId="2722"/>
            <ac:picMk id="9" creationId="{18E2EC8B-360B-1FBC-B43F-FA56DC945E43}"/>
          </ac:picMkLst>
        </pc:picChg>
        <pc:picChg chg="add mod">
          <ac:chgData name="Richardson Concha, Luis Enrique" userId="24a26401-76f9-4f62-bb1e-7d6980a282dd" providerId="ADAL" clId="{381FE82B-2BD3-403A-BE67-73F72757EBD2}" dt="2024-08-28T14:57:08.024" v="254" actId="1076"/>
          <ac:picMkLst>
            <pc:docMk/>
            <pc:sldMk cId="1747244820" sldId="2722"/>
            <ac:picMk id="10" creationId="{1F36678C-7BD8-BF67-76F2-386BCD83692F}"/>
          </ac:picMkLst>
        </pc:picChg>
      </pc:sldChg>
      <pc:sldChg chg="add del">
        <pc:chgData name="Richardson Concha, Luis Enrique" userId="24a26401-76f9-4f62-bb1e-7d6980a282dd" providerId="ADAL" clId="{381FE82B-2BD3-403A-BE67-73F72757EBD2}" dt="2024-08-28T14:50:54.664" v="193" actId="47"/>
        <pc:sldMkLst>
          <pc:docMk/>
          <pc:sldMk cId="884658620" sldId="2723"/>
        </pc:sldMkLst>
      </pc:sldChg>
      <pc:sldChg chg="addSp delSp modSp add mod ord">
        <pc:chgData name="Richardson Concha, Luis Enrique" userId="24a26401-76f9-4f62-bb1e-7d6980a282dd" providerId="ADAL" clId="{381FE82B-2BD3-403A-BE67-73F72757EBD2}" dt="2024-08-28T14:56:50.496" v="253" actId="478"/>
        <pc:sldMkLst>
          <pc:docMk/>
          <pc:sldMk cId="4082547786" sldId="2723"/>
        </pc:sldMkLst>
        <pc:spChg chg="mod ord">
          <ac:chgData name="Richardson Concha, Luis Enrique" userId="24a26401-76f9-4f62-bb1e-7d6980a282dd" providerId="ADAL" clId="{381FE82B-2BD3-403A-BE67-73F72757EBD2}" dt="2024-08-28T14:56:49.201" v="248"/>
          <ac:spMkLst>
            <pc:docMk/>
            <pc:sldMk cId="4082547786" sldId="2723"/>
            <ac:spMk id="17" creationId="{BFBD94C6-FF5E-924E-A4E6-F9CEF0E1FFE5}"/>
          </ac:spMkLst>
        </pc:spChg>
        <pc:spChg chg="mod ord">
          <ac:chgData name="Richardson Concha, Luis Enrique" userId="24a26401-76f9-4f62-bb1e-7d6980a282dd" providerId="ADAL" clId="{381FE82B-2BD3-403A-BE67-73F72757EBD2}" dt="2024-08-28T14:56:49.201" v="246"/>
          <ac:spMkLst>
            <pc:docMk/>
            <pc:sldMk cId="4082547786" sldId="2723"/>
            <ac:spMk id="36" creationId="{F9506A3C-ED6C-864E-946A-28D52CFBE7C1}"/>
          </ac:spMkLst>
        </pc:spChg>
        <pc:grpChg chg="del">
          <ac:chgData name="Richardson Concha, Luis Enrique" userId="24a26401-76f9-4f62-bb1e-7d6980a282dd" providerId="ADAL" clId="{381FE82B-2BD3-403A-BE67-73F72757EBD2}" dt="2024-08-28T14:51:11.694" v="197" actId="478"/>
          <ac:grpSpMkLst>
            <pc:docMk/>
            <pc:sldMk cId="4082547786" sldId="2723"/>
            <ac:grpSpMk id="5" creationId="{85A47503-B0C2-2141-90E5-435E08B7750F}"/>
          </ac:grpSpMkLst>
        </pc:grpChg>
        <pc:graphicFrameChg chg="mod">
          <ac:chgData name="Richardson Concha, Luis Enrique" userId="24a26401-76f9-4f62-bb1e-7d6980a282dd" providerId="ADAL" clId="{381FE82B-2BD3-403A-BE67-73F72757EBD2}" dt="2024-08-28T14:56:49.206" v="252"/>
          <ac:graphicFrameMkLst>
            <pc:docMk/>
            <pc:sldMk cId="4082547786" sldId="2723"/>
            <ac:graphicFrameMk id="6" creationId="{7916D848-0D74-682B-2059-D4867C0BDEEE}"/>
          </ac:graphicFrameMkLst>
        </pc:graphicFrameChg>
        <pc:picChg chg="del mod ord">
          <ac:chgData name="Richardson Concha, Luis Enrique" userId="24a26401-76f9-4f62-bb1e-7d6980a282dd" providerId="ADAL" clId="{381FE82B-2BD3-403A-BE67-73F72757EBD2}" dt="2024-08-28T14:56:50.496" v="253" actId="478"/>
          <ac:picMkLst>
            <pc:docMk/>
            <pc:sldMk cId="4082547786" sldId="2723"/>
            <ac:picMk id="2" creationId="{D2D5A5D7-BEFF-66AD-E9CE-8E8F3F80A090}"/>
          </ac:picMkLst>
        </pc:picChg>
        <pc:picChg chg="mod ord">
          <ac:chgData name="Richardson Concha, Luis Enrique" userId="24a26401-76f9-4f62-bb1e-7d6980a282dd" providerId="ADAL" clId="{381FE82B-2BD3-403A-BE67-73F72757EBD2}" dt="2024-08-28T14:56:49.202" v="250"/>
          <ac:picMkLst>
            <pc:docMk/>
            <pc:sldMk cId="4082547786" sldId="2723"/>
            <ac:picMk id="3" creationId="{E326459A-0391-08B7-78AF-F69E865FCF45}"/>
          </ac:picMkLst>
        </pc:picChg>
        <pc:picChg chg="add mod ord modCrop">
          <ac:chgData name="Richardson Concha, Luis Enrique" userId="24a26401-76f9-4f62-bb1e-7d6980a282dd" providerId="ADAL" clId="{381FE82B-2BD3-403A-BE67-73F72757EBD2}" dt="2024-08-28T14:56:49.199" v="242"/>
          <ac:picMkLst>
            <pc:docMk/>
            <pc:sldMk cId="4082547786" sldId="2723"/>
            <ac:picMk id="9" creationId="{CA6F4F9F-6E46-728E-C39D-B36102C16392}"/>
          </ac:picMkLst>
        </pc:picChg>
      </pc:sldChg>
      <pc:sldChg chg="delSp modSp add mod ord">
        <pc:chgData name="Richardson Concha, Luis Enrique" userId="24a26401-76f9-4f62-bb1e-7d6980a282dd" providerId="ADAL" clId="{381FE82B-2BD3-403A-BE67-73F72757EBD2}" dt="2024-08-28T21:05:55.192" v="357" actId="20577"/>
        <pc:sldMkLst>
          <pc:docMk/>
          <pc:sldMk cId="2384467030" sldId="2724"/>
        </pc:sldMkLst>
        <pc:spChg chg="del">
          <ac:chgData name="Richardson Concha, Luis Enrique" userId="24a26401-76f9-4f62-bb1e-7d6980a282dd" providerId="ADAL" clId="{381FE82B-2BD3-403A-BE67-73F72757EBD2}" dt="2024-08-28T20:53:13.073" v="286" actId="478"/>
          <ac:spMkLst>
            <pc:docMk/>
            <pc:sldMk cId="2384467030" sldId="2724"/>
            <ac:spMk id="2" creationId="{00000000-0000-0000-0000-000000000000}"/>
          </ac:spMkLst>
        </pc:spChg>
        <pc:spChg chg="del">
          <ac:chgData name="Richardson Concha, Luis Enrique" userId="24a26401-76f9-4f62-bb1e-7d6980a282dd" providerId="ADAL" clId="{381FE82B-2BD3-403A-BE67-73F72757EBD2}" dt="2024-08-28T20:52:53.610" v="285" actId="478"/>
          <ac:spMkLst>
            <pc:docMk/>
            <pc:sldMk cId="2384467030" sldId="2724"/>
            <ac:spMk id="79" creationId="{00000000-0000-0000-0000-000000000000}"/>
          </ac:spMkLst>
        </pc:spChg>
        <pc:spChg chg="mod">
          <ac:chgData name="Richardson Concha, Luis Enrique" userId="24a26401-76f9-4f62-bb1e-7d6980a282dd" providerId="ADAL" clId="{381FE82B-2BD3-403A-BE67-73F72757EBD2}" dt="2024-08-28T21:05:55.192" v="357" actId="20577"/>
          <ac:spMkLst>
            <pc:docMk/>
            <pc:sldMk cId="2384467030" sldId="2724"/>
            <ac:spMk id="133" creationId="{ED69FF08-B077-D24F-8BEC-2BCE5AA9C143}"/>
          </ac:spMkLst>
        </pc:spChg>
      </pc:sldChg>
      <pc:sldChg chg="addSp delSp modSp add mod">
        <pc:chgData name="Richardson Concha, Luis Enrique" userId="24a26401-76f9-4f62-bb1e-7d6980a282dd" providerId="ADAL" clId="{381FE82B-2BD3-403A-BE67-73F72757EBD2}" dt="2024-08-28T21:06:11.783" v="371" actId="20577"/>
        <pc:sldMkLst>
          <pc:docMk/>
          <pc:sldMk cId="2173332311" sldId="2725"/>
        </pc:sldMkLst>
        <pc:spChg chg="mod ord">
          <ac:chgData name="Richardson Concha, Luis Enrique" userId="24a26401-76f9-4f62-bb1e-7d6980a282dd" providerId="ADAL" clId="{381FE82B-2BD3-403A-BE67-73F72757EBD2}" dt="2024-08-28T20:53:55.014" v="329"/>
          <ac:spMkLst>
            <pc:docMk/>
            <pc:sldMk cId="2173332311" sldId="2725"/>
            <ac:spMk id="2" creationId="{00000000-0000-0000-0000-000000000000}"/>
          </ac:spMkLst>
        </pc:spChg>
        <pc:spChg chg="add mod ord">
          <ac:chgData name="Richardson Concha, Luis Enrique" userId="24a26401-76f9-4f62-bb1e-7d6980a282dd" providerId="ADAL" clId="{381FE82B-2BD3-403A-BE67-73F72757EBD2}" dt="2024-08-28T20:54:24.933" v="334" actId="1076"/>
          <ac:spMkLst>
            <pc:docMk/>
            <pc:sldMk cId="2173332311" sldId="2725"/>
            <ac:spMk id="4" creationId="{73A9A5F5-1AF4-D857-8FF6-22F99A87D388}"/>
          </ac:spMkLst>
        </pc:spChg>
        <pc:spChg chg="mod ord">
          <ac:chgData name="Richardson Concha, Luis Enrique" userId="24a26401-76f9-4f62-bb1e-7d6980a282dd" providerId="ADAL" clId="{381FE82B-2BD3-403A-BE67-73F72757EBD2}" dt="2024-08-28T20:53:55.002" v="295"/>
          <ac:spMkLst>
            <pc:docMk/>
            <pc:sldMk cId="2173332311" sldId="2725"/>
            <ac:spMk id="17" creationId="{BFBD94C6-FF5E-924E-A4E6-F9CEF0E1FFE5}"/>
          </ac:spMkLst>
        </pc:spChg>
        <pc:spChg chg="del">
          <ac:chgData name="Richardson Concha, Luis Enrique" userId="24a26401-76f9-4f62-bb1e-7d6980a282dd" providerId="ADAL" clId="{381FE82B-2BD3-403A-BE67-73F72757EBD2}" dt="2024-08-28T20:53:51.352" v="291" actId="478"/>
          <ac:spMkLst>
            <pc:docMk/>
            <pc:sldMk cId="2173332311" sldId="2725"/>
            <ac:spMk id="79" creationId="{00000000-0000-0000-0000-000000000000}"/>
          </ac:spMkLst>
        </pc:spChg>
        <pc:spChg chg="mod ord">
          <ac:chgData name="Richardson Concha, Luis Enrique" userId="24a26401-76f9-4f62-bb1e-7d6980a282dd" providerId="ADAL" clId="{381FE82B-2BD3-403A-BE67-73F72757EBD2}" dt="2024-08-28T20:53:55.008" v="313"/>
          <ac:spMkLst>
            <pc:docMk/>
            <pc:sldMk cId="2173332311" sldId="2725"/>
            <ac:spMk id="87" creationId="{0CF979EE-E62A-934E-8B39-00F9824B2AF0}"/>
          </ac:spMkLst>
        </pc:spChg>
        <pc:spChg chg="mod">
          <ac:chgData name="Richardson Concha, Luis Enrique" userId="24a26401-76f9-4f62-bb1e-7d6980a282dd" providerId="ADAL" clId="{381FE82B-2BD3-403A-BE67-73F72757EBD2}" dt="2024-08-28T21:06:11.783" v="371" actId="20577"/>
          <ac:spMkLst>
            <pc:docMk/>
            <pc:sldMk cId="2173332311" sldId="2725"/>
            <ac:spMk id="133" creationId="{ED69FF08-B077-D24F-8BEC-2BCE5AA9C143}"/>
          </ac:spMkLst>
        </pc:spChg>
        <pc:grpChg chg="mod ord">
          <ac:chgData name="Richardson Concha, Luis Enrique" userId="24a26401-76f9-4f62-bb1e-7d6980a282dd" providerId="ADAL" clId="{381FE82B-2BD3-403A-BE67-73F72757EBD2}" dt="2024-08-28T20:53:55.009" v="315"/>
          <ac:grpSpMkLst>
            <pc:docMk/>
            <pc:sldMk cId="2173332311" sldId="2725"/>
            <ac:grpSpMk id="88" creationId="{00000000-0000-0000-0000-000000000000}"/>
          </ac:grpSpMkLst>
        </pc:grpChg>
        <pc:grpChg chg="mod ord">
          <ac:chgData name="Richardson Concha, Luis Enrique" userId="24a26401-76f9-4f62-bb1e-7d6980a282dd" providerId="ADAL" clId="{381FE82B-2BD3-403A-BE67-73F72757EBD2}" dt="2024-08-28T20:53:55.010" v="317"/>
          <ac:grpSpMkLst>
            <pc:docMk/>
            <pc:sldMk cId="2173332311" sldId="2725"/>
            <ac:grpSpMk id="97" creationId="{00000000-0000-0000-0000-000000000000}"/>
          </ac:grpSpMkLst>
        </pc:grpChg>
        <pc:grpChg chg="mod ord">
          <ac:chgData name="Richardson Concha, Luis Enrique" userId="24a26401-76f9-4f62-bb1e-7d6980a282dd" providerId="ADAL" clId="{381FE82B-2BD3-403A-BE67-73F72757EBD2}" dt="2024-08-28T20:53:55.011" v="319"/>
          <ac:grpSpMkLst>
            <pc:docMk/>
            <pc:sldMk cId="2173332311" sldId="2725"/>
            <ac:grpSpMk id="105" creationId="{00000000-0000-0000-0000-000000000000}"/>
          </ac:grpSpMkLst>
        </pc:grpChg>
        <pc:grpChg chg="mod ord">
          <ac:chgData name="Richardson Concha, Luis Enrique" userId="24a26401-76f9-4f62-bb1e-7d6980a282dd" providerId="ADAL" clId="{381FE82B-2BD3-403A-BE67-73F72757EBD2}" dt="2024-08-28T20:53:55.011" v="321"/>
          <ac:grpSpMkLst>
            <pc:docMk/>
            <pc:sldMk cId="2173332311" sldId="2725"/>
            <ac:grpSpMk id="114" creationId="{00000000-0000-0000-0000-000000000000}"/>
          </ac:grpSpMkLst>
        </pc:grpChg>
        <pc:grpChg chg="mod ord">
          <ac:chgData name="Richardson Concha, Luis Enrique" userId="24a26401-76f9-4f62-bb1e-7d6980a282dd" providerId="ADAL" clId="{381FE82B-2BD3-403A-BE67-73F72757EBD2}" dt="2024-08-28T20:53:55.012" v="323"/>
          <ac:grpSpMkLst>
            <pc:docMk/>
            <pc:sldMk cId="2173332311" sldId="2725"/>
            <ac:grpSpMk id="122" creationId="{00000000-0000-0000-0000-000000000000}"/>
          </ac:grpSpMkLst>
        </pc:grpChg>
        <pc:grpChg chg="mod ord">
          <ac:chgData name="Richardson Concha, Luis Enrique" userId="24a26401-76f9-4f62-bb1e-7d6980a282dd" providerId="ADAL" clId="{381FE82B-2BD3-403A-BE67-73F72757EBD2}" dt="2024-08-28T20:53:55.013" v="325"/>
          <ac:grpSpMkLst>
            <pc:docMk/>
            <pc:sldMk cId="2173332311" sldId="2725"/>
            <ac:grpSpMk id="130" creationId="{00000000-0000-0000-0000-000000000000}"/>
          </ac:grpSpMkLst>
        </pc:grpChg>
        <pc:grpChg chg="mod ord">
          <ac:chgData name="Richardson Concha, Luis Enrique" userId="24a26401-76f9-4f62-bb1e-7d6980a282dd" providerId="ADAL" clId="{381FE82B-2BD3-403A-BE67-73F72757EBD2}" dt="2024-08-28T20:53:55.013" v="327"/>
          <ac:grpSpMkLst>
            <pc:docMk/>
            <pc:sldMk cId="2173332311" sldId="2725"/>
            <ac:grpSpMk id="138" creationId="{00000000-0000-0000-0000-000000000000}"/>
          </ac:grpSpMkLst>
        </pc:grpChg>
        <pc:graphicFrameChg chg="mod">
          <ac:chgData name="Richardson Concha, Luis Enrique" userId="24a26401-76f9-4f62-bb1e-7d6980a282dd" providerId="ADAL" clId="{381FE82B-2BD3-403A-BE67-73F72757EBD2}" dt="2024-08-28T20:53:55.022" v="331"/>
          <ac:graphicFrameMkLst>
            <pc:docMk/>
            <pc:sldMk cId="2173332311" sldId="2725"/>
            <ac:graphicFrameMk id="6" creationId="{7916D848-0D74-682B-2059-D4867C0BDEEE}"/>
          </ac:graphicFrameMkLst>
        </pc:graphicFrameChg>
        <pc:picChg chg="mod ord">
          <ac:chgData name="Richardson Concha, Luis Enrique" userId="24a26401-76f9-4f62-bb1e-7d6980a282dd" providerId="ADAL" clId="{381FE82B-2BD3-403A-BE67-73F72757EBD2}" dt="2024-08-28T20:53:55.003" v="297"/>
          <ac:picMkLst>
            <pc:docMk/>
            <pc:sldMk cId="2173332311" sldId="2725"/>
            <ac:picMk id="3" creationId="{E326459A-0391-08B7-78AF-F69E865FCF45}"/>
          </ac:picMkLst>
        </pc:picChg>
        <pc:cxnChg chg="mod ord">
          <ac:chgData name="Richardson Concha, Luis Enrique" userId="24a26401-76f9-4f62-bb1e-7d6980a282dd" providerId="ADAL" clId="{381FE82B-2BD3-403A-BE67-73F72757EBD2}" dt="2024-08-28T20:53:55.003" v="299"/>
          <ac:cxnSpMkLst>
            <pc:docMk/>
            <pc:sldMk cId="2173332311" sldId="2725"/>
            <ac:cxnSpMk id="80" creationId="{483B66B3-BAB4-DA4A-AA72-3F5602939B74}"/>
          </ac:cxnSpMkLst>
        </pc:cxnChg>
        <pc:cxnChg chg="mod ord">
          <ac:chgData name="Richardson Concha, Luis Enrique" userId="24a26401-76f9-4f62-bb1e-7d6980a282dd" providerId="ADAL" clId="{381FE82B-2BD3-403A-BE67-73F72757EBD2}" dt="2024-08-28T20:53:55.004" v="301"/>
          <ac:cxnSpMkLst>
            <pc:docMk/>
            <pc:sldMk cId="2173332311" sldId="2725"/>
            <ac:cxnSpMk id="81" creationId="{FF6F68C1-A56E-7B48-8DAA-5880CA502049}"/>
          </ac:cxnSpMkLst>
        </pc:cxnChg>
        <pc:cxnChg chg="mod ord">
          <ac:chgData name="Richardson Concha, Luis Enrique" userId="24a26401-76f9-4f62-bb1e-7d6980a282dd" providerId="ADAL" clId="{381FE82B-2BD3-403A-BE67-73F72757EBD2}" dt="2024-08-28T20:53:55.004" v="303"/>
          <ac:cxnSpMkLst>
            <pc:docMk/>
            <pc:sldMk cId="2173332311" sldId="2725"/>
            <ac:cxnSpMk id="82" creationId="{483B66B3-BAB4-DA4A-AA72-3F5602939B74}"/>
          </ac:cxnSpMkLst>
        </pc:cxnChg>
        <pc:cxnChg chg="mod ord">
          <ac:chgData name="Richardson Concha, Luis Enrique" userId="24a26401-76f9-4f62-bb1e-7d6980a282dd" providerId="ADAL" clId="{381FE82B-2BD3-403A-BE67-73F72757EBD2}" dt="2024-08-28T20:53:55.005" v="305"/>
          <ac:cxnSpMkLst>
            <pc:docMk/>
            <pc:sldMk cId="2173332311" sldId="2725"/>
            <ac:cxnSpMk id="83" creationId="{483B66B3-BAB4-DA4A-AA72-3F5602939B74}"/>
          </ac:cxnSpMkLst>
        </pc:cxnChg>
        <pc:cxnChg chg="mod ord">
          <ac:chgData name="Richardson Concha, Luis Enrique" userId="24a26401-76f9-4f62-bb1e-7d6980a282dd" providerId="ADAL" clId="{381FE82B-2BD3-403A-BE67-73F72757EBD2}" dt="2024-08-28T20:53:55.006" v="307"/>
          <ac:cxnSpMkLst>
            <pc:docMk/>
            <pc:sldMk cId="2173332311" sldId="2725"/>
            <ac:cxnSpMk id="84" creationId="{FF6F68C1-A56E-7B48-8DAA-5880CA502049}"/>
          </ac:cxnSpMkLst>
        </pc:cxnChg>
        <pc:cxnChg chg="mod ord">
          <ac:chgData name="Richardson Concha, Luis Enrique" userId="24a26401-76f9-4f62-bb1e-7d6980a282dd" providerId="ADAL" clId="{381FE82B-2BD3-403A-BE67-73F72757EBD2}" dt="2024-08-28T20:53:55.006" v="309"/>
          <ac:cxnSpMkLst>
            <pc:docMk/>
            <pc:sldMk cId="2173332311" sldId="2725"/>
            <ac:cxnSpMk id="85" creationId="{FF6F68C1-A56E-7B48-8DAA-5880CA502049}"/>
          </ac:cxnSpMkLst>
        </pc:cxnChg>
        <pc:cxnChg chg="mod ord">
          <ac:chgData name="Richardson Concha, Luis Enrique" userId="24a26401-76f9-4f62-bb1e-7d6980a282dd" providerId="ADAL" clId="{381FE82B-2BD3-403A-BE67-73F72757EBD2}" dt="2024-08-28T20:53:55.007" v="311"/>
          <ac:cxnSpMkLst>
            <pc:docMk/>
            <pc:sldMk cId="2173332311" sldId="2725"/>
            <ac:cxnSpMk id="86" creationId="{D189550E-3A7C-0C45-8A60-7C5D6E6A0D0F}"/>
          </ac:cxnSpMkLst>
        </pc:cxnChg>
      </pc:sldChg>
      <pc:sldChg chg="modSp add mod">
        <pc:chgData name="Richardson Concha, Luis Enrique" userId="24a26401-76f9-4f62-bb1e-7d6980a282dd" providerId="ADAL" clId="{381FE82B-2BD3-403A-BE67-73F72757EBD2}" dt="2024-08-28T21:06:19.973" v="378" actId="20577"/>
        <pc:sldMkLst>
          <pc:docMk/>
          <pc:sldMk cId="3019466414" sldId="2726"/>
        </pc:sldMkLst>
        <pc:spChg chg="mod">
          <ac:chgData name="Richardson Concha, Luis Enrique" userId="24a26401-76f9-4f62-bb1e-7d6980a282dd" providerId="ADAL" clId="{381FE82B-2BD3-403A-BE67-73F72757EBD2}" dt="2024-08-28T20:54:39.917" v="336"/>
          <ac:spMkLst>
            <pc:docMk/>
            <pc:sldMk cId="3019466414" sldId="2726"/>
            <ac:spMk id="2" creationId="{00000000-0000-0000-0000-000000000000}"/>
          </ac:spMkLst>
        </pc:spChg>
        <pc:spChg chg="mod">
          <ac:chgData name="Richardson Concha, Luis Enrique" userId="24a26401-76f9-4f62-bb1e-7d6980a282dd" providerId="ADAL" clId="{381FE82B-2BD3-403A-BE67-73F72757EBD2}" dt="2024-08-28T20:54:53.237" v="337" actId="1076"/>
          <ac:spMkLst>
            <pc:docMk/>
            <pc:sldMk cId="3019466414" sldId="2726"/>
            <ac:spMk id="4" creationId="{73A9A5F5-1AF4-D857-8FF6-22F99A87D388}"/>
          </ac:spMkLst>
        </pc:spChg>
        <pc:spChg chg="mod">
          <ac:chgData name="Richardson Concha, Luis Enrique" userId="24a26401-76f9-4f62-bb1e-7d6980a282dd" providerId="ADAL" clId="{381FE82B-2BD3-403A-BE67-73F72757EBD2}" dt="2024-08-28T21:06:19.973" v="378" actId="20577"/>
          <ac:spMkLst>
            <pc:docMk/>
            <pc:sldMk cId="3019466414" sldId="2726"/>
            <ac:spMk id="133" creationId="{ED69FF08-B077-D24F-8BEC-2BCE5AA9C143}"/>
          </ac:spMkLst>
        </pc:spChg>
      </pc:sldChg>
      <pc:sldChg chg="modSp add mod">
        <pc:chgData name="Richardson Concha, Luis Enrique" userId="24a26401-76f9-4f62-bb1e-7d6980a282dd" providerId="ADAL" clId="{381FE82B-2BD3-403A-BE67-73F72757EBD2}" dt="2024-08-28T21:06:48.951" v="400" actId="20577"/>
        <pc:sldMkLst>
          <pc:docMk/>
          <pc:sldMk cId="770674536" sldId="2727"/>
        </pc:sldMkLst>
        <pc:spChg chg="mod">
          <ac:chgData name="Richardson Concha, Luis Enrique" userId="24a26401-76f9-4f62-bb1e-7d6980a282dd" providerId="ADAL" clId="{381FE82B-2BD3-403A-BE67-73F72757EBD2}" dt="2024-08-28T20:56:19.964" v="341"/>
          <ac:spMkLst>
            <pc:docMk/>
            <pc:sldMk cId="770674536" sldId="2727"/>
            <ac:spMk id="2" creationId="{00000000-0000-0000-0000-000000000000}"/>
          </ac:spMkLst>
        </pc:spChg>
        <pc:spChg chg="mod">
          <ac:chgData name="Richardson Concha, Luis Enrique" userId="24a26401-76f9-4f62-bb1e-7d6980a282dd" providerId="ADAL" clId="{381FE82B-2BD3-403A-BE67-73F72757EBD2}" dt="2024-08-28T20:56:02.197" v="340" actId="1076"/>
          <ac:spMkLst>
            <pc:docMk/>
            <pc:sldMk cId="770674536" sldId="2727"/>
            <ac:spMk id="79" creationId="{00000000-0000-0000-0000-000000000000}"/>
          </ac:spMkLst>
        </pc:spChg>
        <pc:spChg chg="mod">
          <ac:chgData name="Richardson Concha, Luis Enrique" userId="24a26401-76f9-4f62-bb1e-7d6980a282dd" providerId="ADAL" clId="{381FE82B-2BD3-403A-BE67-73F72757EBD2}" dt="2024-08-28T21:06:48.951" v="400" actId="20577"/>
          <ac:spMkLst>
            <pc:docMk/>
            <pc:sldMk cId="770674536" sldId="2727"/>
            <ac:spMk id="133" creationId="{ED69FF08-B077-D24F-8BEC-2BCE5AA9C143}"/>
          </ac:spMkLst>
        </pc:spChg>
      </pc:sldChg>
      <pc:sldChg chg="modSp add mod">
        <pc:chgData name="Richardson Concha, Luis Enrique" userId="24a26401-76f9-4f62-bb1e-7d6980a282dd" providerId="ADAL" clId="{381FE82B-2BD3-403A-BE67-73F72757EBD2}" dt="2024-08-28T21:06:59.116" v="407" actId="20577"/>
        <pc:sldMkLst>
          <pc:docMk/>
          <pc:sldMk cId="2849381424" sldId="2728"/>
        </pc:sldMkLst>
        <pc:spChg chg="mod">
          <ac:chgData name="Richardson Concha, Luis Enrique" userId="24a26401-76f9-4f62-bb1e-7d6980a282dd" providerId="ADAL" clId="{381FE82B-2BD3-403A-BE67-73F72757EBD2}" dt="2024-08-28T20:58:51.376" v="350" actId="14100"/>
          <ac:spMkLst>
            <pc:docMk/>
            <pc:sldMk cId="2849381424" sldId="2728"/>
            <ac:spMk id="2" creationId="{00000000-0000-0000-0000-000000000000}"/>
          </ac:spMkLst>
        </pc:spChg>
        <pc:spChg chg="mod">
          <ac:chgData name="Richardson Concha, Luis Enrique" userId="24a26401-76f9-4f62-bb1e-7d6980a282dd" providerId="ADAL" clId="{381FE82B-2BD3-403A-BE67-73F72757EBD2}" dt="2024-08-28T20:57:16.022" v="344" actId="1076"/>
          <ac:spMkLst>
            <pc:docMk/>
            <pc:sldMk cId="2849381424" sldId="2728"/>
            <ac:spMk id="79" creationId="{00000000-0000-0000-0000-000000000000}"/>
          </ac:spMkLst>
        </pc:spChg>
        <pc:spChg chg="mod">
          <ac:chgData name="Richardson Concha, Luis Enrique" userId="24a26401-76f9-4f62-bb1e-7d6980a282dd" providerId="ADAL" clId="{381FE82B-2BD3-403A-BE67-73F72757EBD2}" dt="2024-08-28T21:06:59.116" v="407" actId="20577"/>
          <ac:spMkLst>
            <pc:docMk/>
            <pc:sldMk cId="2849381424" sldId="2728"/>
            <ac:spMk id="133" creationId="{ED69FF08-B077-D24F-8BEC-2BCE5AA9C143}"/>
          </ac:spMkLst>
        </pc:spChg>
      </pc:sldChg>
      <pc:sldChg chg="modSp add mod">
        <pc:chgData name="Richardson Concha, Luis Enrique" userId="24a26401-76f9-4f62-bb1e-7d6980a282dd" providerId="ADAL" clId="{381FE82B-2BD3-403A-BE67-73F72757EBD2}" dt="2024-08-28T21:07:08.167" v="414" actId="20577"/>
        <pc:sldMkLst>
          <pc:docMk/>
          <pc:sldMk cId="738664693" sldId="2729"/>
        </pc:sldMkLst>
        <pc:spChg chg="mod">
          <ac:chgData name="Richardson Concha, Luis Enrique" userId="24a26401-76f9-4f62-bb1e-7d6980a282dd" providerId="ADAL" clId="{381FE82B-2BD3-403A-BE67-73F72757EBD2}" dt="2024-08-28T20:57:51.010" v="348"/>
          <ac:spMkLst>
            <pc:docMk/>
            <pc:sldMk cId="738664693" sldId="2729"/>
            <ac:spMk id="2" creationId="{00000000-0000-0000-0000-000000000000}"/>
          </ac:spMkLst>
        </pc:spChg>
        <pc:spChg chg="mod">
          <ac:chgData name="Richardson Concha, Luis Enrique" userId="24a26401-76f9-4f62-bb1e-7d6980a282dd" providerId="ADAL" clId="{381FE82B-2BD3-403A-BE67-73F72757EBD2}" dt="2024-08-28T21:07:08.167" v="414" actId="20577"/>
          <ac:spMkLst>
            <pc:docMk/>
            <pc:sldMk cId="738664693" sldId="2729"/>
            <ac:spMk id="133" creationId="{ED69FF08-B077-D24F-8BEC-2BCE5AA9C14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DC3453-78F4-4318-9D44-6E1569AF17C0}" type="datetimeFigureOut">
              <a:rPr lang="es-CL" smtClean="0"/>
              <a:t>02-09-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B9E08F-1B24-4DB6-81FE-6B970D93951C}" type="slidenum">
              <a:rPr lang="es-CL" smtClean="0"/>
              <a:t>‹Nº›</a:t>
            </a:fld>
            <a:endParaRPr lang="es-CL"/>
          </a:p>
        </p:txBody>
      </p:sp>
    </p:spTree>
    <p:extLst>
      <p:ext uri="{BB962C8B-B14F-4D97-AF65-F5344CB8AC3E}">
        <p14:creationId xmlns:p14="http://schemas.microsoft.com/office/powerpoint/2010/main" val="3418593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a:t>
            </a:fld>
            <a:endParaRPr lang="es-CL">
              <a:solidFill>
                <a:prstClr val="black"/>
              </a:solidFill>
              <a:latin typeface="Calibri" panose="020F0502020204030204"/>
            </a:endParaRPr>
          </a:p>
        </p:txBody>
      </p:sp>
    </p:spTree>
    <p:extLst>
      <p:ext uri="{BB962C8B-B14F-4D97-AF65-F5344CB8AC3E}">
        <p14:creationId xmlns:p14="http://schemas.microsoft.com/office/powerpoint/2010/main" val="2843767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2</a:t>
            </a:fld>
            <a:endParaRPr lang="es-CL">
              <a:solidFill>
                <a:prstClr val="black"/>
              </a:solidFill>
              <a:latin typeface="Calibri" panose="020F0502020204030204"/>
            </a:endParaRPr>
          </a:p>
        </p:txBody>
      </p:sp>
    </p:spTree>
    <p:extLst>
      <p:ext uri="{BB962C8B-B14F-4D97-AF65-F5344CB8AC3E}">
        <p14:creationId xmlns:p14="http://schemas.microsoft.com/office/powerpoint/2010/main" val="1559494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3</a:t>
            </a:fld>
            <a:endParaRPr lang="es-CL">
              <a:solidFill>
                <a:prstClr val="black"/>
              </a:solidFill>
              <a:latin typeface="Calibri" panose="020F0502020204030204"/>
            </a:endParaRPr>
          </a:p>
        </p:txBody>
      </p:sp>
    </p:spTree>
    <p:extLst>
      <p:ext uri="{BB962C8B-B14F-4D97-AF65-F5344CB8AC3E}">
        <p14:creationId xmlns:p14="http://schemas.microsoft.com/office/powerpoint/2010/main" val="3010421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4</a:t>
            </a:fld>
            <a:endParaRPr lang="es-CL">
              <a:solidFill>
                <a:prstClr val="black"/>
              </a:solidFill>
              <a:latin typeface="Calibri" panose="020F0502020204030204"/>
            </a:endParaRPr>
          </a:p>
        </p:txBody>
      </p:sp>
    </p:spTree>
    <p:extLst>
      <p:ext uri="{BB962C8B-B14F-4D97-AF65-F5344CB8AC3E}">
        <p14:creationId xmlns:p14="http://schemas.microsoft.com/office/powerpoint/2010/main" val="31781514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5</a:t>
            </a:fld>
            <a:endParaRPr lang="es-CL">
              <a:solidFill>
                <a:prstClr val="black"/>
              </a:solidFill>
              <a:latin typeface="Calibri" panose="020F0502020204030204"/>
            </a:endParaRPr>
          </a:p>
        </p:txBody>
      </p:sp>
    </p:spTree>
    <p:extLst>
      <p:ext uri="{BB962C8B-B14F-4D97-AF65-F5344CB8AC3E}">
        <p14:creationId xmlns:p14="http://schemas.microsoft.com/office/powerpoint/2010/main" val="1310458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6</a:t>
            </a:fld>
            <a:endParaRPr lang="es-CL">
              <a:solidFill>
                <a:prstClr val="black"/>
              </a:solidFill>
              <a:latin typeface="Calibri" panose="020F0502020204030204"/>
            </a:endParaRPr>
          </a:p>
        </p:txBody>
      </p:sp>
    </p:spTree>
    <p:extLst>
      <p:ext uri="{BB962C8B-B14F-4D97-AF65-F5344CB8AC3E}">
        <p14:creationId xmlns:p14="http://schemas.microsoft.com/office/powerpoint/2010/main" val="1322613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7</a:t>
            </a:fld>
            <a:endParaRPr lang="es-CL">
              <a:solidFill>
                <a:prstClr val="black"/>
              </a:solidFill>
              <a:latin typeface="Calibri" panose="020F0502020204030204"/>
            </a:endParaRPr>
          </a:p>
        </p:txBody>
      </p:sp>
    </p:spTree>
    <p:extLst>
      <p:ext uri="{BB962C8B-B14F-4D97-AF65-F5344CB8AC3E}">
        <p14:creationId xmlns:p14="http://schemas.microsoft.com/office/powerpoint/2010/main" val="2759857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8</a:t>
            </a:fld>
            <a:endParaRPr lang="es-CL">
              <a:solidFill>
                <a:prstClr val="black"/>
              </a:solidFill>
              <a:latin typeface="Calibri" panose="020F0502020204030204"/>
            </a:endParaRPr>
          </a:p>
        </p:txBody>
      </p:sp>
    </p:spTree>
    <p:extLst>
      <p:ext uri="{BB962C8B-B14F-4D97-AF65-F5344CB8AC3E}">
        <p14:creationId xmlns:p14="http://schemas.microsoft.com/office/powerpoint/2010/main" val="24040414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9</a:t>
            </a:fld>
            <a:endParaRPr lang="es-CL">
              <a:solidFill>
                <a:prstClr val="black"/>
              </a:solidFill>
              <a:latin typeface="Calibri" panose="020F0502020204030204"/>
            </a:endParaRPr>
          </a:p>
        </p:txBody>
      </p:sp>
    </p:spTree>
    <p:extLst>
      <p:ext uri="{BB962C8B-B14F-4D97-AF65-F5344CB8AC3E}">
        <p14:creationId xmlns:p14="http://schemas.microsoft.com/office/powerpoint/2010/main" val="2244921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0</a:t>
            </a:fld>
            <a:endParaRPr lang="es-CL">
              <a:solidFill>
                <a:prstClr val="black"/>
              </a:solidFill>
              <a:latin typeface="Calibri" panose="020F0502020204030204"/>
            </a:endParaRPr>
          </a:p>
        </p:txBody>
      </p:sp>
    </p:spTree>
    <p:extLst>
      <p:ext uri="{BB962C8B-B14F-4D97-AF65-F5344CB8AC3E}">
        <p14:creationId xmlns:p14="http://schemas.microsoft.com/office/powerpoint/2010/main" val="1711039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1</a:t>
            </a:fld>
            <a:endParaRPr lang="es-CL">
              <a:solidFill>
                <a:prstClr val="black"/>
              </a:solidFill>
              <a:latin typeface="Calibri" panose="020F0502020204030204"/>
            </a:endParaRPr>
          </a:p>
        </p:txBody>
      </p:sp>
    </p:spTree>
    <p:extLst>
      <p:ext uri="{BB962C8B-B14F-4D97-AF65-F5344CB8AC3E}">
        <p14:creationId xmlns:p14="http://schemas.microsoft.com/office/powerpoint/2010/main" val="1553309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4</a:t>
            </a:fld>
            <a:endParaRPr lang="es-CL">
              <a:solidFill>
                <a:prstClr val="black"/>
              </a:solidFill>
              <a:latin typeface="Calibri" panose="020F0502020204030204"/>
            </a:endParaRPr>
          </a:p>
        </p:txBody>
      </p:sp>
    </p:spTree>
    <p:extLst>
      <p:ext uri="{BB962C8B-B14F-4D97-AF65-F5344CB8AC3E}">
        <p14:creationId xmlns:p14="http://schemas.microsoft.com/office/powerpoint/2010/main" val="3374419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2</a:t>
            </a:fld>
            <a:endParaRPr lang="es-CL">
              <a:solidFill>
                <a:prstClr val="black"/>
              </a:solidFill>
              <a:latin typeface="Calibri" panose="020F0502020204030204"/>
            </a:endParaRPr>
          </a:p>
        </p:txBody>
      </p:sp>
    </p:spTree>
    <p:extLst>
      <p:ext uri="{BB962C8B-B14F-4D97-AF65-F5344CB8AC3E}">
        <p14:creationId xmlns:p14="http://schemas.microsoft.com/office/powerpoint/2010/main" val="355134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3</a:t>
            </a:fld>
            <a:endParaRPr lang="es-CL">
              <a:solidFill>
                <a:prstClr val="black"/>
              </a:solidFill>
              <a:latin typeface="Calibri" panose="020F0502020204030204"/>
            </a:endParaRPr>
          </a:p>
        </p:txBody>
      </p:sp>
    </p:spTree>
    <p:extLst>
      <p:ext uri="{BB962C8B-B14F-4D97-AF65-F5344CB8AC3E}">
        <p14:creationId xmlns:p14="http://schemas.microsoft.com/office/powerpoint/2010/main" val="10297156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4</a:t>
            </a:fld>
            <a:endParaRPr lang="es-CL">
              <a:solidFill>
                <a:prstClr val="black"/>
              </a:solidFill>
              <a:latin typeface="Calibri" panose="020F0502020204030204"/>
            </a:endParaRPr>
          </a:p>
        </p:txBody>
      </p:sp>
    </p:spTree>
    <p:extLst>
      <p:ext uri="{BB962C8B-B14F-4D97-AF65-F5344CB8AC3E}">
        <p14:creationId xmlns:p14="http://schemas.microsoft.com/office/powerpoint/2010/main" val="172284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5</a:t>
            </a:fld>
            <a:endParaRPr lang="es-CL">
              <a:solidFill>
                <a:prstClr val="black"/>
              </a:solidFill>
              <a:latin typeface="Calibri" panose="020F0502020204030204"/>
            </a:endParaRPr>
          </a:p>
        </p:txBody>
      </p:sp>
    </p:spTree>
    <p:extLst>
      <p:ext uri="{BB962C8B-B14F-4D97-AF65-F5344CB8AC3E}">
        <p14:creationId xmlns:p14="http://schemas.microsoft.com/office/powerpoint/2010/main" val="11313408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6</a:t>
            </a:fld>
            <a:endParaRPr lang="es-CL">
              <a:solidFill>
                <a:prstClr val="black"/>
              </a:solidFill>
              <a:latin typeface="Calibri" panose="020F0502020204030204"/>
            </a:endParaRPr>
          </a:p>
        </p:txBody>
      </p:sp>
    </p:spTree>
    <p:extLst>
      <p:ext uri="{BB962C8B-B14F-4D97-AF65-F5344CB8AC3E}">
        <p14:creationId xmlns:p14="http://schemas.microsoft.com/office/powerpoint/2010/main" val="2597298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7</a:t>
            </a:fld>
            <a:endParaRPr lang="es-CL">
              <a:solidFill>
                <a:prstClr val="black"/>
              </a:solidFill>
              <a:latin typeface="Calibri" panose="020F0502020204030204"/>
            </a:endParaRPr>
          </a:p>
        </p:txBody>
      </p:sp>
    </p:spTree>
    <p:extLst>
      <p:ext uri="{BB962C8B-B14F-4D97-AF65-F5344CB8AC3E}">
        <p14:creationId xmlns:p14="http://schemas.microsoft.com/office/powerpoint/2010/main" val="3888012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8</a:t>
            </a:fld>
            <a:endParaRPr lang="es-CL">
              <a:solidFill>
                <a:prstClr val="black"/>
              </a:solidFill>
              <a:latin typeface="Calibri" panose="020F0502020204030204"/>
            </a:endParaRPr>
          </a:p>
        </p:txBody>
      </p:sp>
    </p:spTree>
    <p:extLst>
      <p:ext uri="{BB962C8B-B14F-4D97-AF65-F5344CB8AC3E}">
        <p14:creationId xmlns:p14="http://schemas.microsoft.com/office/powerpoint/2010/main" val="4131965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5</a:t>
            </a:fld>
            <a:endParaRPr lang="es-CL">
              <a:solidFill>
                <a:prstClr val="black"/>
              </a:solidFill>
              <a:latin typeface="Calibri" panose="020F0502020204030204"/>
            </a:endParaRPr>
          </a:p>
        </p:txBody>
      </p:sp>
    </p:spTree>
    <p:extLst>
      <p:ext uri="{BB962C8B-B14F-4D97-AF65-F5344CB8AC3E}">
        <p14:creationId xmlns:p14="http://schemas.microsoft.com/office/powerpoint/2010/main" val="1804248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6</a:t>
            </a:fld>
            <a:endParaRPr lang="es-CL">
              <a:solidFill>
                <a:prstClr val="black"/>
              </a:solidFill>
              <a:latin typeface="Calibri" panose="020F0502020204030204"/>
            </a:endParaRPr>
          </a:p>
        </p:txBody>
      </p:sp>
    </p:spTree>
    <p:extLst>
      <p:ext uri="{BB962C8B-B14F-4D97-AF65-F5344CB8AC3E}">
        <p14:creationId xmlns:p14="http://schemas.microsoft.com/office/powerpoint/2010/main" val="89420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7</a:t>
            </a:fld>
            <a:endParaRPr lang="es-CL">
              <a:solidFill>
                <a:prstClr val="black"/>
              </a:solidFill>
              <a:latin typeface="Calibri" panose="020F0502020204030204"/>
            </a:endParaRPr>
          </a:p>
        </p:txBody>
      </p:sp>
    </p:spTree>
    <p:extLst>
      <p:ext uri="{BB962C8B-B14F-4D97-AF65-F5344CB8AC3E}">
        <p14:creationId xmlns:p14="http://schemas.microsoft.com/office/powerpoint/2010/main" val="210164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8</a:t>
            </a:fld>
            <a:endParaRPr lang="es-CL">
              <a:solidFill>
                <a:prstClr val="black"/>
              </a:solidFill>
              <a:latin typeface="Calibri" panose="020F0502020204030204"/>
            </a:endParaRPr>
          </a:p>
        </p:txBody>
      </p:sp>
    </p:spTree>
    <p:extLst>
      <p:ext uri="{BB962C8B-B14F-4D97-AF65-F5344CB8AC3E}">
        <p14:creationId xmlns:p14="http://schemas.microsoft.com/office/powerpoint/2010/main" val="3239467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9</a:t>
            </a:fld>
            <a:endParaRPr lang="es-CL">
              <a:solidFill>
                <a:prstClr val="black"/>
              </a:solidFill>
              <a:latin typeface="Calibri" panose="020F0502020204030204"/>
            </a:endParaRPr>
          </a:p>
        </p:txBody>
      </p:sp>
    </p:spTree>
    <p:extLst>
      <p:ext uri="{BB962C8B-B14F-4D97-AF65-F5344CB8AC3E}">
        <p14:creationId xmlns:p14="http://schemas.microsoft.com/office/powerpoint/2010/main" val="1237623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0</a:t>
            </a:fld>
            <a:endParaRPr lang="es-CL">
              <a:solidFill>
                <a:prstClr val="black"/>
              </a:solidFill>
              <a:latin typeface="Calibri" panose="020F0502020204030204"/>
            </a:endParaRPr>
          </a:p>
        </p:txBody>
      </p:sp>
    </p:spTree>
    <p:extLst>
      <p:ext uri="{BB962C8B-B14F-4D97-AF65-F5344CB8AC3E}">
        <p14:creationId xmlns:p14="http://schemas.microsoft.com/office/powerpoint/2010/main" val="2057478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1</a:t>
            </a:fld>
            <a:endParaRPr lang="es-CL">
              <a:solidFill>
                <a:prstClr val="black"/>
              </a:solidFill>
              <a:latin typeface="Calibri" panose="020F0502020204030204"/>
            </a:endParaRPr>
          </a:p>
        </p:txBody>
      </p:sp>
    </p:spTree>
    <p:extLst>
      <p:ext uri="{BB962C8B-B14F-4D97-AF65-F5344CB8AC3E}">
        <p14:creationId xmlns:p14="http://schemas.microsoft.com/office/powerpoint/2010/main" val="480837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368DBCAC-AA37-4548-93C6-256A0C525BF2}"/>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 xmlns:a16="http://schemas.microsoft.com/office/drawing/2014/main" id="{21E4510B-D302-EC44-BFBA-9ED113C5EC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C76BBB46-B932-0F46-A127-187036D6CE22}"/>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5" name="Marcador de pie de página 4">
            <a:extLst>
              <a:ext uri="{FF2B5EF4-FFF2-40B4-BE49-F238E27FC236}">
                <a16:creationId xmlns="" xmlns:a16="http://schemas.microsoft.com/office/drawing/2014/main" id="{7F5088D0-7375-7740-8B05-B7AA5C4A5318}"/>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4C4D206F-2820-A741-8A34-8FD85346C2BA}"/>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543110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7B6765E-ED4C-1B41-858E-07B47C1F9F1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1840FB98-9CE3-154B-80A6-A2610925094E}"/>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66B938A1-51B0-2442-9869-16523380D0F6}"/>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5" name="Marcador de pie de página 4">
            <a:extLst>
              <a:ext uri="{FF2B5EF4-FFF2-40B4-BE49-F238E27FC236}">
                <a16:creationId xmlns="" xmlns:a16="http://schemas.microsoft.com/office/drawing/2014/main" id="{43186E6E-3981-944B-B029-7D997B721D96}"/>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CD07BD3B-C3EF-1543-921A-C8A9E8C039A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696565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A0F46F1D-9E6F-EE4B-8DC2-EC22CAD9D2FF}"/>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4C61D717-AD5D-0142-B2A4-C907D3ED7889}"/>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2235B326-E5A1-984A-8771-E530988AE223}"/>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5" name="Marcador de pie de página 4">
            <a:extLst>
              <a:ext uri="{FF2B5EF4-FFF2-40B4-BE49-F238E27FC236}">
                <a16:creationId xmlns="" xmlns:a16="http://schemas.microsoft.com/office/drawing/2014/main" id="{8BDEAAB3-4A02-314E-ACEB-9F15256F36E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5576397B-8F98-664C-AFCE-95E3D204F900}"/>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83110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893" y="385812"/>
            <a:ext cx="1297221"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1881531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C5CC303-66AA-484E-B874-D360545DFDA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7106E5D0-87A3-854F-B0B5-B151D85887BD}"/>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C8BC1CBC-F843-0242-82F7-0146D924C885}"/>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5" name="Marcador de pie de página 4">
            <a:extLst>
              <a:ext uri="{FF2B5EF4-FFF2-40B4-BE49-F238E27FC236}">
                <a16:creationId xmlns="" xmlns:a16="http://schemas.microsoft.com/office/drawing/2014/main" id="{4D5F3569-B0AA-CF45-BA54-F05472B3723A}"/>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AC70D2F6-5F87-D94B-A8FA-AEC3E235531D}"/>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340004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CD86168-7965-B742-821E-DCEB007A607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D3154592-68EB-E842-AD5F-3B726B800B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5B0F0586-C58F-7E43-9D41-BEAF7C3869BE}"/>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5" name="Marcador de pie de página 4">
            <a:extLst>
              <a:ext uri="{FF2B5EF4-FFF2-40B4-BE49-F238E27FC236}">
                <a16:creationId xmlns="" xmlns:a16="http://schemas.microsoft.com/office/drawing/2014/main" id="{53BA7C49-0AA9-2C4A-A5DF-81346C7A98A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E53DC825-35DD-1747-951E-E68D3621EBC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381526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2BC35FE-30D9-564C-9730-DF617AF69302}"/>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2B953640-6000-454E-8E87-D2B04EF14795}"/>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 xmlns:a16="http://schemas.microsoft.com/office/drawing/2014/main" id="{A1388B3C-8832-EA41-BEE7-C4D0FACBF14A}"/>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1A0E70DC-9532-D64F-8B85-104362BDC98F}"/>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6" name="Marcador de pie de página 5">
            <a:extLst>
              <a:ext uri="{FF2B5EF4-FFF2-40B4-BE49-F238E27FC236}">
                <a16:creationId xmlns="" xmlns:a16="http://schemas.microsoft.com/office/drawing/2014/main" id="{9631F8A5-E86E-504F-9E60-17231546479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B19C382B-B50A-BB46-98AB-0EB6BCB9428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48846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9365A09-D6D0-EC4A-AF0C-74AB8FC4339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99E22301-4AD6-6F48-9364-DFC86640C9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 xmlns:a16="http://schemas.microsoft.com/office/drawing/2014/main" id="{93BEBA7B-358D-8840-B59C-846E4EF6E9D9}"/>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 xmlns:a16="http://schemas.microsoft.com/office/drawing/2014/main" id="{CD2347E9-6B4E-CC47-8CE8-0B9A9F3182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 xmlns:a16="http://schemas.microsoft.com/office/drawing/2014/main" id="{BB28F4CC-2EF6-534D-9268-7EED6EFB6610}"/>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 xmlns:a16="http://schemas.microsoft.com/office/drawing/2014/main" id="{9ABCD811-E236-A244-A3CA-63950BFF9828}"/>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8" name="Marcador de pie de página 7">
            <a:extLst>
              <a:ext uri="{FF2B5EF4-FFF2-40B4-BE49-F238E27FC236}">
                <a16:creationId xmlns="" xmlns:a16="http://schemas.microsoft.com/office/drawing/2014/main" id="{C1F80104-E725-244C-8043-717E651F477C}"/>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 xmlns:a16="http://schemas.microsoft.com/office/drawing/2014/main" id="{024EB772-B051-B742-979E-13FCAFA81C3F}"/>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42979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F0F9125F-C863-1348-8EC6-C81D542C3955}"/>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 xmlns:a16="http://schemas.microsoft.com/office/drawing/2014/main" id="{6F27AB6E-3A07-3144-8FDE-C1EDB996EC6E}"/>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4" name="Marcador de pie de página 3">
            <a:extLst>
              <a:ext uri="{FF2B5EF4-FFF2-40B4-BE49-F238E27FC236}">
                <a16:creationId xmlns="" xmlns:a16="http://schemas.microsoft.com/office/drawing/2014/main" id="{6C833275-4AA5-9146-9AD5-D16167055F93}"/>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 xmlns:a16="http://schemas.microsoft.com/office/drawing/2014/main" id="{0EF8CF59-E5F3-DB41-B453-F8A0FA93FDFB}"/>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183210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E188D6B1-6C93-4F46-9C70-5F4AA2BFF135}"/>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3" name="Marcador de pie de página 2">
            <a:extLst>
              <a:ext uri="{FF2B5EF4-FFF2-40B4-BE49-F238E27FC236}">
                <a16:creationId xmlns="" xmlns:a16="http://schemas.microsoft.com/office/drawing/2014/main" id="{02D85ADF-8417-0D4A-BC70-400F0CE1B155}"/>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 xmlns:a16="http://schemas.microsoft.com/office/drawing/2014/main" id="{D4C8CA3F-227F-5748-B25E-874575D48784}"/>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683713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A915825C-4911-8249-98D4-2DDA89E7B0F6}"/>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D40189BF-5B50-4045-AD6A-8450D55F84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 xmlns:a16="http://schemas.microsoft.com/office/drawing/2014/main" id="{B27F45DB-3CF2-5B43-B272-EB12C93660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9A8FE8EA-BE28-844F-9411-BF947E8EC291}"/>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6" name="Marcador de pie de página 5">
            <a:extLst>
              <a:ext uri="{FF2B5EF4-FFF2-40B4-BE49-F238E27FC236}">
                <a16:creationId xmlns="" xmlns:a16="http://schemas.microsoft.com/office/drawing/2014/main" id="{1B5CD1AA-A0B8-FB46-A945-F72DE832240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316F4101-BC03-8C4C-9B99-356D1B56F187}"/>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54173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35ADC524-7429-4F4E-820E-2E28C39830C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 xmlns:a16="http://schemas.microsoft.com/office/drawing/2014/main" id="{8AEDFABC-4CCB-B743-8AF5-A3A17D1AF1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 xmlns:a16="http://schemas.microsoft.com/office/drawing/2014/main" id="{A95E1AEB-B19B-D54A-95BF-DC377D8F9B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8E2E75F3-9D1D-9A43-B581-08A656764A72}"/>
              </a:ext>
            </a:extLst>
          </p:cNvPr>
          <p:cNvSpPr>
            <a:spLocks noGrp="1"/>
          </p:cNvSpPr>
          <p:nvPr>
            <p:ph type="dt" sz="half" idx="10"/>
          </p:nvPr>
        </p:nvSpPr>
        <p:spPr/>
        <p:txBody>
          <a:bodyPr/>
          <a:lstStyle/>
          <a:p>
            <a:fld id="{9D9182F8-5C10-3E4C-A247-97524CDAFCC9}" type="datetimeFigureOut">
              <a:rPr lang="es-CL" smtClean="0"/>
              <a:t>02-09-2024</a:t>
            </a:fld>
            <a:endParaRPr lang="es-CL"/>
          </a:p>
        </p:txBody>
      </p:sp>
      <p:sp>
        <p:nvSpPr>
          <p:cNvPr id="6" name="Marcador de pie de página 5">
            <a:extLst>
              <a:ext uri="{FF2B5EF4-FFF2-40B4-BE49-F238E27FC236}">
                <a16:creationId xmlns="" xmlns:a16="http://schemas.microsoft.com/office/drawing/2014/main" id="{A2AFC897-7400-BF43-B225-2AEBE8EA8241}"/>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F8A8F8FC-9248-1D40-9D79-73047545F50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750166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 xmlns:a16="http://schemas.microsoft.com/office/drawing/2014/main" id="{415FA733-3FCA-59CA-9094-371EC37EE33C}"/>
              </a:ext>
            </a:extLst>
          </p:cNvPr>
          <p:cNvGraphicFramePr>
            <a:graphicFrameLocks noChangeAspect="1"/>
          </p:cNvGraphicFramePr>
          <p:nvPr userDrawn="1">
            <p:custDataLst>
              <p:tags r:id="rId15"/>
            </p:custDataLst>
            <p:extLst>
              <p:ext uri="{D42A27DB-BD31-4B8C-83A1-F6EECF244321}">
                <p14:modId xmlns:p14="http://schemas.microsoft.com/office/powerpoint/2010/main" val="370413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Diapositiva de think-cell" r:id="rId16" imgW="384" imgH="384" progId="TCLayout.ActiveDocument.1">
                  <p:embed/>
                </p:oleObj>
              </mc:Choice>
              <mc:Fallback>
                <p:oleObj name="Diapositiva de think-cell" r:id="rId16" imgW="384" imgH="384" progId="TCLayout.ActiveDocument.1">
                  <p:embed/>
                  <p:pic>
                    <p:nvPicPr>
                      <p:cNvPr id="8" name="think-cell data - do not delete" hidden="1">
                        <a:extLst>
                          <a:ext uri="{FF2B5EF4-FFF2-40B4-BE49-F238E27FC236}">
                            <a16:creationId xmlns="" xmlns:a16="http://schemas.microsoft.com/office/drawing/2014/main" id="{415FA733-3FCA-59CA-9094-371EC37EE33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 xmlns:a16="http://schemas.microsoft.com/office/drawing/2014/main" id="{72E50FB4-BE14-5E4E-8AD9-F1F524DA03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Haga clic para modificar el estilo de título del patrón</a:t>
            </a:r>
            <a:endParaRPr lang="es-CL" dirty="0"/>
          </a:p>
        </p:txBody>
      </p:sp>
      <p:sp>
        <p:nvSpPr>
          <p:cNvPr id="3" name="Marcador de texto 2">
            <a:extLst>
              <a:ext uri="{FF2B5EF4-FFF2-40B4-BE49-F238E27FC236}">
                <a16:creationId xmlns="" xmlns:a16="http://schemas.microsoft.com/office/drawing/2014/main" id="{80AC09C7-6860-4041-97B8-9B590184B4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dirty="0"/>
              <a:t>Editar los estilos de texto del patrón
Segundo nivel
Tercer nivel
Cuarto nivel
Quinto nivel</a:t>
            </a:r>
            <a:endParaRPr lang="es-CL" dirty="0"/>
          </a:p>
        </p:txBody>
      </p:sp>
      <p:sp>
        <p:nvSpPr>
          <p:cNvPr id="4" name="Marcador de fecha 3">
            <a:extLst>
              <a:ext uri="{FF2B5EF4-FFF2-40B4-BE49-F238E27FC236}">
                <a16:creationId xmlns="" xmlns:a16="http://schemas.microsoft.com/office/drawing/2014/main" id="{625624F2-2776-0C46-A51B-F8C2F56AD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CHS Nueva Serif" pitchFamily="2" charset="0"/>
              </a:defRPr>
            </a:lvl1pPr>
          </a:lstStyle>
          <a:p>
            <a:fld id="{9D9182F8-5C10-3E4C-A247-97524CDAFCC9}" type="datetimeFigureOut">
              <a:rPr lang="es-CL" smtClean="0"/>
              <a:pPr/>
              <a:t>02-09-2024</a:t>
            </a:fld>
            <a:endParaRPr lang="es-CL" dirty="0"/>
          </a:p>
        </p:txBody>
      </p:sp>
      <p:sp>
        <p:nvSpPr>
          <p:cNvPr id="5" name="Marcador de pie de página 4">
            <a:extLst>
              <a:ext uri="{FF2B5EF4-FFF2-40B4-BE49-F238E27FC236}">
                <a16:creationId xmlns="" xmlns:a16="http://schemas.microsoft.com/office/drawing/2014/main" id="{BF0E7F77-1E51-EF44-B1AA-CA41F3CC02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CHS Nueva Serif" pitchFamily="2" charset="0"/>
              </a:defRPr>
            </a:lvl1pPr>
          </a:lstStyle>
          <a:p>
            <a:endParaRPr lang="es-CL" dirty="0"/>
          </a:p>
        </p:txBody>
      </p:sp>
      <p:sp>
        <p:nvSpPr>
          <p:cNvPr id="6" name="Marcador de número de diapositiva 5">
            <a:extLst>
              <a:ext uri="{FF2B5EF4-FFF2-40B4-BE49-F238E27FC236}">
                <a16:creationId xmlns="" xmlns:a16="http://schemas.microsoft.com/office/drawing/2014/main" id="{EB52312C-3F71-1D40-9096-1DF2135C85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CHS Nueva Serif" pitchFamily="2" charset="0"/>
              </a:defRPr>
            </a:lvl1pPr>
          </a:lstStyle>
          <a:p>
            <a:fld id="{DD1E5098-B027-864A-A66F-37E1102C26DC}" type="slidenum">
              <a:rPr lang="es-CL" smtClean="0"/>
              <a:pPr/>
              <a:t>‹Nº›</a:t>
            </a:fld>
            <a:endParaRPr lang="es-CL" dirty="0"/>
          </a:p>
        </p:txBody>
      </p:sp>
    </p:spTree>
    <p:extLst>
      <p:ext uri="{BB962C8B-B14F-4D97-AF65-F5344CB8AC3E}">
        <p14:creationId xmlns:p14="http://schemas.microsoft.com/office/powerpoint/2010/main" val="488059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ACHS Nueva Serif"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CHS Nueva Serif"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0.png"/><Relationship Id="rId5" Type="http://schemas.openxmlformats.org/officeDocument/2006/relationships/notesSlide" Target="../notesSlides/notesSlide8.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24.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0.png"/><Relationship Id="rId5" Type="http://schemas.openxmlformats.org/officeDocument/2006/relationships/notesSlide" Target="../notesSlides/notesSlide9.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26.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0.png"/><Relationship Id="rId5" Type="http://schemas.openxmlformats.org/officeDocument/2006/relationships/notesSlide" Target="../notesSlides/notesSlide10.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0.png"/><Relationship Id="rId5" Type="http://schemas.openxmlformats.org/officeDocument/2006/relationships/notesSlide" Target="../notesSlides/notesSlide11.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12.xml"/><Relationship Id="rId9" Type="http://schemas.openxmlformats.org/officeDocument/2006/relationships/image" Target="../media/image13.jpeg"/></Relationships>
</file>

<file path=ppt/slides/_rels/slide1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12.xml"/><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xml"/><Relationship Id="rId7" Type="http://schemas.openxmlformats.org/officeDocument/2006/relationships/oleObject" Target="../embeddings/oleObject16.bin"/><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15.jpeg"/><Relationship Id="rId5" Type="http://schemas.openxmlformats.org/officeDocument/2006/relationships/notesSlide" Target="../notesSlides/notesSlide14.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7.bin"/><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notesSlide" Target="../notesSlides/notesSlide15.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xml"/><Relationship Id="rId7" Type="http://schemas.openxmlformats.org/officeDocument/2006/relationships/oleObject" Target="../embeddings/oleObject18.bin"/><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7.jpeg"/><Relationship Id="rId5" Type="http://schemas.openxmlformats.org/officeDocument/2006/relationships/notesSlide" Target="../notesSlides/notesSlide16.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9.bin"/><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notesSlide" Target="../notesSlides/notesSlide17.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9.xml"/><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0.xml"/><Relationship Id="rId4" Type="http://schemas.openxmlformats.org/officeDocument/2006/relationships/slideLayout" Target="../slideLayouts/slideLayout12.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1.xml"/><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2.xml"/><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12.xml"/><Relationship Id="rId9" Type="http://schemas.openxmlformats.org/officeDocument/2006/relationships/image" Target="../media/image20.png"/></Relationships>
</file>

<file path=ppt/slides/_rels/slide2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4.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2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5.xml"/><Relationship Id="rId10" Type="http://schemas.openxmlformats.org/officeDocument/2006/relationships/image" Target="../media/image22.png"/><Relationship Id="rId4" Type="http://schemas.openxmlformats.org/officeDocument/2006/relationships/slideLayout" Target="../slideLayouts/slideLayout12.xml"/><Relationship Id="rId9" Type="http://schemas.openxmlformats.org/officeDocument/2006/relationships/image" Target="../media/image21.png"/></Relationships>
</file>

<file path=ppt/slides/_rels/slide28.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12.xml"/><Relationship Id="rId9" Type="http://schemas.openxmlformats.org/officeDocument/2006/relationships/image" Target="../media/image6.emf"/></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6.sv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26.png"/><Relationship Id="rId5" Type="http://schemas.openxmlformats.org/officeDocument/2006/relationships/image" Target="../media/image26.svg"/><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2.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0.png"/><Relationship Id="rId5" Type="http://schemas.openxmlformats.org/officeDocument/2006/relationships/notesSlide" Target="../notesSlides/notesSlide3.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0.png"/><Relationship Id="rId5" Type="http://schemas.openxmlformats.org/officeDocument/2006/relationships/notesSlide" Target="../notesSlides/notesSlide4.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16.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0.png"/><Relationship Id="rId5" Type="http://schemas.openxmlformats.org/officeDocument/2006/relationships/notesSlide" Target="../notesSlides/notesSlide5.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18.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10.png"/><Relationship Id="rId5" Type="http://schemas.openxmlformats.org/officeDocument/2006/relationships/notesSlide" Target="../notesSlides/notesSlide6.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12.png"/><Relationship Id="rId3" Type="http://schemas.openxmlformats.org/officeDocument/2006/relationships/tags" Target="../tags/tag20.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0.png"/><Relationship Id="rId5" Type="http://schemas.openxmlformats.org/officeDocument/2006/relationships/notesSlide" Target="../notesSlides/notesSlide7.xml"/><Relationship Id="rId10" Type="http://schemas.openxmlformats.org/officeDocument/2006/relationships/image" Target="../media/image9.png"/><Relationship Id="rId4" Type="http://schemas.openxmlformats.org/officeDocument/2006/relationships/slideLayout" Target="../slideLayouts/slideLayout12.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774019" y="0"/>
            <a:ext cx="7410893" cy="6861176"/>
          </a:xfrm>
          <a:prstGeom prst="rect">
            <a:avLst/>
          </a:prstGeom>
        </p:spPr>
      </p:pic>
      <p:graphicFrame>
        <p:nvGraphicFramePr>
          <p:cNvPr id="3" name="think-cell data - do not delete" hidden="1">
            <a:extLst>
              <a:ext uri="{FF2B5EF4-FFF2-40B4-BE49-F238E27FC236}">
                <a16:creationId xmlns="" xmlns:a16="http://schemas.microsoft.com/office/drawing/2014/main" id="{03C2254C-7F64-A57C-595C-D9FC658AC1CE}"/>
              </a:ext>
            </a:extLst>
          </p:cNvPr>
          <p:cNvGraphicFramePr>
            <a:graphicFrameLocks noChangeAspect="1"/>
          </p:cNvGraphicFramePr>
          <p:nvPr>
            <p:custDataLst>
              <p:tags r:id="rId3"/>
            </p:custDataLst>
            <p:extLst>
              <p:ext uri="{D42A27DB-BD31-4B8C-83A1-F6EECF244321}">
                <p14:modId xmlns:p14="http://schemas.microsoft.com/office/powerpoint/2010/main" val="427053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Diapositiva de think-cell" r:id="rId6" imgW="384" imgH="384" progId="TCLayout.ActiveDocument.1">
                  <p:embed/>
                </p:oleObj>
              </mc:Choice>
              <mc:Fallback>
                <p:oleObj name="Diapositiva de think-cell" r:id="rId6" imgW="384" imgH="384" progId="TCLayout.ActiveDocument.1">
                  <p:embed/>
                  <p:pic>
                    <p:nvPicPr>
                      <p:cNvPr id="3" name="think-cell data - do not delete" hidden="1">
                        <a:extLst>
                          <a:ext uri="{FF2B5EF4-FFF2-40B4-BE49-F238E27FC236}">
                            <a16:creationId xmlns="" xmlns:a16="http://schemas.microsoft.com/office/drawing/2014/main" id="{03C2254C-7F64-A57C-595C-D9FC658AC1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9">
            <a:extLst>
              <a:ext uri="{FF2B5EF4-FFF2-40B4-BE49-F238E27FC236}">
                <a16:creationId xmlns="" xmlns:a16="http://schemas.microsoft.com/office/drawing/2014/main" id="{8E102811-4AA1-1D45-A94D-ABC3DAF55731}"/>
              </a:ext>
            </a:extLst>
          </p:cNvPr>
          <p:cNvSpPr txBox="1">
            <a:spLocks/>
          </p:cNvSpPr>
          <p:nvPr/>
        </p:nvSpPr>
        <p:spPr>
          <a:xfrm>
            <a:off x="380999" y="3995678"/>
            <a:ext cx="3496235" cy="642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2400" dirty="0">
                <a:solidFill>
                  <a:srgbClr val="15C047"/>
                </a:solidFill>
                <a:latin typeface="ACHS Nueva Sans Medium" pitchFamily="2" charset="0"/>
                <a:cs typeface="Arial" panose="020B0604020202020204" pitchFamily="34" charset="0"/>
              </a:rPr>
              <a:t>Charla/Presencial</a:t>
            </a:r>
          </a:p>
        </p:txBody>
      </p:sp>
      <p:pic>
        <p:nvPicPr>
          <p:cNvPr id="5" name="Imagen 4">
            <a:extLst>
              <a:ext uri="{FF2B5EF4-FFF2-40B4-BE49-F238E27FC236}">
                <a16:creationId xmlns="" xmlns:a16="http://schemas.microsoft.com/office/drawing/2014/main" id="{2BAFCD49-1BAE-1A4E-B050-5EAAA35829C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0999" y="5797943"/>
            <a:ext cx="1287590" cy="526006"/>
          </a:xfrm>
          <a:prstGeom prst="rect">
            <a:avLst/>
          </a:prstGeom>
        </p:spPr>
      </p:pic>
      <p:sp>
        <p:nvSpPr>
          <p:cNvPr id="6" name="Rectángulo 5">
            <a:extLst>
              <a:ext uri="{FF2B5EF4-FFF2-40B4-BE49-F238E27FC236}">
                <a16:creationId xmlns="" xmlns:a16="http://schemas.microsoft.com/office/drawing/2014/main" id="{A412EC63-7B19-9143-8828-5510B74BCE97}"/>
              </a:ext>
            </a:extLst>
          </p:cNvPr>
          <p:cNvSpPr/>
          <p:nvPr/>
        </p:nvSpPr>
        <p:spPr>
          <a:xfrm>
            <a:off x="380999" y="566678"/>
            <a:ext cx="4495801" cy="2308324"/>
          </a:xfrm>
          <a:prstGeom prst="rect">
            <a:avLst/>
          </a:prstGeom>
        </p:spPr>
        <p:txBody>
          <a:bodyPr wrap="square">
            <a:spAutoFit/>
          </a:bodyPr>
          <a:lstStyle/>
          <a:p>
            <a:pPr defTabSz="914126">
              <a:defRPr/>
            </a:pPr>
            <a:r>
              <a:rPr lang="es-ES" sz="3600" b="1" dirty="0">
                <a:latin typeface="ACHS Nueva Serif SemiBold" pitchFamily="2" charset="0"/>
                <a:cs typeface="Arial" panose="020B0604020202020204" pitchFamily="34" charset="0"/>
              </a:rPr>
              <a:t>Nuevo reglamento sobre gestión de riesgos laborales, decreto N° 44</a:t>
            </a:r>
            <a:endParaRPr lang="es-CL" sz="3600" b="1" dirty="0">
              <a:latin typeface="ACHS Nueva Serif SemiBold" pitchFamily="2" charset="0"/>
              <a:cs typeface="Arial" panose="020B0604020202020204" pitchFamily="34" charset="0"/>
            </a:endParaRPr>
          </a:p>
        </p:txBody>
      </p:sp>
    </p:spTree>
    <p:custDataLst>
      <p:tags r:id="rId2"/>
    </p:custDataLst>
    <p:extLst>
      <p:ext uri="{BB962C8B-B14F-4D97-AF65-F5344CB8AC3E}">
        <p14:creationId xmlns:p14="http://schemas.microsoft.com/office/powerpoint/2010/main" val="2989611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Sus principios, objetivos y compromisos se enfocan en el desarrollo, promoción e integración de una cultura preventiva, perfeccionando el marco normativo, la institucionalidad fiscalizadora y las prestaciones de los OAL. Garantizar el enfoque de género y diversidad.</a:t>
            </a:r>
          </a:p>
        </p:txBody>
      </p:sp>
      <p:sp>
        <p:nvSpPr>
          <p:cNvPr id="79" name="Rectángulo redondeado 78"/>
          <p:cNvSpPr/>
          <p:nvPr/>
        </p:nvSpPr>
        <p:spPr>
          <a:xfrm>
            <a:off x="6897901" y="1565951"/>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409466" y="2677207"/>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64852" y="2652650"/>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219046" y="2639014"/>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42398" y="2574407"/>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45532" y="3023892"/>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92592" y="2628055"/>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514038" y="2529880"/>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47606" y="2868028"/>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83720" y="976495"/>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79529" y="1888128"/>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59673" y="1899791"/>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53760" y="1931145"/>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83403" y="936290"/>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10023907" y="1988341"/>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90724" y="976495"/>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3158911480"/>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Este Convenio representa un hito muy importante para promover un enfoque holístico de la gobernanza nacional de la SST, orientado a las políticas y centrado en la prevención. Introduce los principios de una política nacional en relación con la SST, haciendo hincapié en la necesidad de considerar la SST como un asunto de interés nacional.</a:t>
            </a:r>
          </a:p>
        </p:txBody>
      </p:sp>
      <p:sp>
        <p:nvSpPr>
          <p:cNvPr id="79" name="Rectángulo redondeado 78"/>
          <p:cNvSpPr/>
          <p:nvPr/>
        </p:nvSpPr>
        <p:spPr>
          <a:xfrm>
            <a:off x="8340219" y="720258"/>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409466" y="2677207"/>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64852" y="2652650"/>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219046" y="2639014"/>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42398" y="2574407"/>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45532" y="3023892"/>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92592" y="2628055"/>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514038" y="2529880"/>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47606" y="2868028"/>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83720" y="976495"/>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79529" y="1888128"/>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59673" y="1899791"/>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53760" y="1931145"/>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83403" y="936290"/>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10023907" y="1988341"/>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90724" y="976495"/>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77067453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2" name="Rectángulo 1"/>
          <p:cNvSpPr/>
          <p:nvPr/>
        </p:nvSpPr>
        <p:spPr>
          <a:xfrm>
            <a:off x="563589" y="5696360"/>
            <a:ext cx="11261555" cy="101554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Contiene obligaciones transversales para la gestión de los riesgos laborales por parte de las entidades empleadoras, las personas trabajadoras y los OAL estableciendo normas para la constitución y funcionamiento de los CPHS, de los Departamentos de PR, de los Encargados de prevención de riesgos laborales, de los Delegados de SST, de los sistemas de gestión de SST, entre otras materias.</a:t>
            </a:r>
          </a:p>
        </p:txBody>
      </p:sp>
      <p:sp>
        <p:nvSpPr>
          <p:cNvPr id="79" name="Rectángulo redondeado 78"/>
          <p:cNvSpPr/>
          <p:nvPr/>
        </p:nvSpPr>
        <p:spPr>
          <a:xfrm>
            <a:off x="10056400" y="1615156"/>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409466" y="2677207"/>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64852" y="2652650"/>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219046" y="2639014"/>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42398" y="2574407"/>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45532" y="3023892"/>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92592" y="2628055"/>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514038" y="2529880"/>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47606" y="2868028"/>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83720" y="976495"/>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79529" y="1888128"/>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59673" y="1899791"/>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53760" y="1931145"/>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83403" y="936290"/>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10023907" y="1988341"/>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90724" y="976495"/>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2849381424"/>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Deroga los Decretos Supremos </a:t>
            </a:r>
            <a:r>
              <a:rPr lang="es-ES" sz="1600" dirty="0" err="1">
                <a:solidFill>
                  <a:schemeClr val="bg1"/>
                </a:solidFill>
                <a:latin typeface="ACHS Nueva Sans" pitchFamily="2" charset="0"/>
              </a:rPr>
              <a:t>N°</a:t>
            </a:r>
            <a:r>
              <a:rPr lang="es-ES" sz="1600" dirty="0">
                <a:solidFill>
                  <a:schemeClr val="bg1"/>
                </a:solidFill>
                <a:latin typeface="ACHS Nueva Sans" pitchFamily="2" charset="0"/>
              </a:rPr>
              <a:t> 40 y </a:t>
            </a:r>
            <a:r>
              <a:rPr lang="es-ES" sz="1600" dirty="0" err="1">
                <a:solidFill>
                  <a:schemeClr val="bg1"/>
                </a:solidFill>
                <a:latin typeface="ACHS Nueva Sans" pitchFamily="2" charset="0"/>
              </a:rPr>
              <a:t>N°</a:t>
            </a:r>
            <a:r>
              <a:rPr lang="es-ES" sz="1600" dirty="0">
                <a:solidFill>
                  <a:schemeClr val="bg1"/>
                </a:solidFill>
                <a:latin typeface="ACHS Nueva Sans" pitchFamily="2" charset="0"/>
              </a:rPr>
              <a:t> 54 ambos de 1969 del Ministerio del Trabajo y Previsión Social, sobre prevención de riesgos profesionales y para la constitución y funcionamiento de los comités paritarios de higiene y seguridad, respectivamente.</a:t>
            </a:r>
          </a:p>
        </p:txBody>
      </p:sp>
      <p:sp>
        <p:nvSpPr>
          <p:cNvPr id="79" name="Rectángulo redondeado 78"/>
          <p:cNvSpPr/>
          <p:nvPr/>
        </p:nvSpPr>
        <p:spPr>
          <a:xfrm>
            <a:off x="10056400" y="1615156"/>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409466" y="2677207"/>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64852" y="2652650"/>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219046" y="2639014"/>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42398" y="2574407"/>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45532" y="3023892"/>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92592" y="2628055"/>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514038" y="2529880"/>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47606" y="2868028"/>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83720" y="976495"/>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79529" y="1888128"/>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59673" y="1899791"/>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53760" y="1931145"/>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83403" y="936290"/>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10023907" y="1988341"/>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90724" y="976495"/>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73866469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2031325"/>
          </a:xfrm>
          <a:prstGeom prst="rect">
            <a:avLst/>
          </a:prstGeom>
          <a:noFill/>
        </p:spPr>
        <p:txBody>
          <a:bodyPr wrap="square" lIns="91440" tIns="45720" rIns="91440" bIns="45720" rtlCol="0" anchor="t">
            <a:spAutoFit/>
          </a:bodyPr>
          <a:lstStyle/>
          <a:p>
            <a:pPr algn="just">
              <a:spcBef>
                <a:spcPct val="0"/>
              </a:spcBef>
              <a:buClr>
                <a:srgbClr val="15BF45"/>
              </a:buClr>
            </a:pPr>
            <a:r>
              <a:rPr lang="es-CL" altLang="es-CL" b="1" dirty="0">
                <a:solidFill>
                  <a:srgbClr val="0FC044"/>
                </a:solidFill>
                <a:latin typeface="ACHS Nueva Sans Medium" pitchFamily="2" charset="0"/>
                <a:cs typeface="Arial" panose="020B0604020202020204" pitchFamily="34" charset="0"/>
              </a:rPr>
              <a:t>Principal objetivo</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Establecer las medidas necesarias para garantizar la seguridad y salud de los trabajadores mediante la identificación, evaluación, y control de los riesgos asociados con sus actividades laborales, estableciendo los roles y obligaciones de los distintos responsables de la gestión preventiva.</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7" name="Grupo 6"/>
          <p:cNvGrpSpPr/>
          <p:nvPr/>
        </p:nvGrpSpPr>
        <p:grpSpPr>
          <a:xfrm>
            <a:off x="1117475" y="4241318"/>
            <a:ext cx="1937148" cy="780326"/>
            <a:chOff x="6387848" y="3429000"/>
            <a:chExt cx="2952000" cy="780326"/>
          </a:xfrm>
        </p:grpSpPr>
        <p:sp>
          <p:nvSpPr>
            <p:cNvPr id="8" name="Rectángulo redondeado 7"/>
            <p:cNvSpPr/>
            <p:nvPr/>
          </p:nvSpPr>
          <p:spPr>
            <a:xfrm>
              <a:off x="6387848"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9" name="Rectángulo 8"/>
            <p:cNvSpPr/>
            <p:nvPr/>
          </p:nvSpPr>
          <p:spPr>
            <a:xfrm>
              <a:off x="6714232" y="3432725"/>
              <a:ext cx="2324264" cy="738664"/>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Obligaciones de las entidades empleadoras</a:t>
              </a:r>
            </a:p>
          </p:txBody>
        </p:sp>
      </p:grpSp>
      <p:grpSp>
        <p:nvGrpSpPr>
          <p:cNvPr id="10" name="Grupo 9"/>
          <p:cNvGrpSpPr/>
          <p:nvPr/>
        </p:nvGrpSpPr>
        <p:grpSpPr>
          <a:xfrm>
            <a:off x="5178623" y="4252074"/>
            <a:ext cx="1895790" cy="780326"/>
            <a:chOff x="6387848" y="3429000"/>
            <a:chExt cx="2952000" cy="780326"/>
          </a:xfrm>
        </p:grpSpPr>
        <p:sp>
          <p:nvSpPr>
            <p:cNvPr id="11" name="Rectángulo redondeado 10"/>
            <p:cNvSpPr/>
            <p:nvPr/>
          </p:nvSpPr>
          <p:spPr>
            <a:xfrm>
              <a:off x="6387848"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12" name="Rectángulo 11"/>
            <p:cNvSpPr/>
            <p:nvPr/>
          </p:nvSpPr>
          <p:spPr>
            <a:xfrm>
              <a:off x="6649756" y="3439075"/>
              <a:ext cx="2324264" cy="738664"/>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Obligaciones de las personas trabajadoras</a:t>
              </a:r>
            </a:p>
          </p:txBody>
        </p:sp>
      </p:grpSp>
      <p:grpSp>
        <p:nvGrpSpPr>
          <p:cNvPr id="13" name="Grupo 12"/>
          <p:cNvGrpSpPr/>
          <p:nvPr/>
        </p:nvGrpSpPr>
        <p:grpSpPr>
          <a:xfrm>
            <a:off x="3054623" y="5563294"/>
            <a:ext cx="2124000" cy="780326"/>
            <a:chOff x="6031523" y="3429000"/>
            <a:chExt cx="2952000" cy="780326"/>
          </a:xfrm>
        </p:grpSpPr>
        <p:sp>
          <p:nvSpPr>
            <p:cNvPr id="14" name="Rectángulo redondeado 13"/>
            <p:cNvSpPr/>
            <p:nvPr/>
          </p:nvSpPr>
          <p:spPr>
            <a:xfrm>
              <a:off x="6031523"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15" name="Rectángulo 14"/>
            <p:cNvSpPr/>
            <p:nvPr/>
          </p:nvSpPr>
          <p:spPr>
            <a:xfrm>
              <a:off x="6135923" y="3444453"/>
              <a:ext cx="2743200" cy="738664"/>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Obligaciones de los organismos administradores</a:t>
              </a:r>
            </a:p>
          </p:txBody>
        </p:sp>
      </p:grpSp>
      <p:grpSp>
        <p:nvGrpSpPr>
          <p:cNvPr id="2" name="Grupo 1"/>
          <p:cNvGrpSpPr/>
          <p:nvPr/>
        </p:nvGrpSpPr>
        <p:grpSpPr>
          <a:xfrm>
            <a:off x="3539861" y="4354219"/>
            <a:ext cx="1116000" cy="817902"/>
            <a:chOff x="3539861" y="4354219"/>
            <a:chExt cx="1116000" cy="817902"/>
          </a:xfrm>
          <a:solidFill>
            <a:srgbClr val="014B14"/>
          </a:solidFill>
        </p:grpSpPr>
        <p:sp>
          <p:nvSpPr>
            <p:cNvPr id="16" name="Flecha izquierda y derecha 15"/>
            <p:cNvSpPr/>
            <p:nvPr/>
          </p:nvSpPr>
          <p:spPr>
            <a:xfrm>
              <a:off x="3539861" y="4354219"/>
              <a:ext cx="1116000" cy="504000"/>
            </a:xfrm>
            <a:prstGeom prst="leftRightArrow">
              <a:avLst/>
            </a:prstGeom>
            <a:grp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sp>
          <p:nvSpPr>
            <p:cNvPr id="18" name="Flecha izquierda y derecha 17"/>
            <p:cNvSpPr/>
            <p:nvPr/>
          </p:nvSpPr>
          <p:spPr>
            <a:xfrm rot="5400000">
              <a:off x="3763007" y="4596121"/>
              <a:ext cx="684000" cy="468000"/>
            </a:xfrm>
            <a:prstGeom prst="leftRightArrow">
              <a:avLst/>
            </a:prstGeom>
            <a:grp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grpSp>
      <p:pic>
        <p:nvPicPr>
          <p:cNvPr id="19" name="Imagen 18" descr="Imagen que contiene interior, pastel, cumpleaños, colorido&#10;&#10;Descripción generada automáticamente">
            <a:extLst>
              <a:ext uri="{FF2B5EF4-FFF2-40B4-BE49-F238E27FC236}">
                <a16:creationId xmlns="" xmlns:a16="http://schemas.microsoft.com/office/drawing/2014/main" id="{FF069134-B192-2B2B-7C8A-08E6173506A4}"/>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142238" y="0"/>
            <a:ext cx="4049761" cy="6868736"/>
          </a:xfrm>
          <a:prstGeom prst="rect">
            <a:avLst/>
          </a:prstGeom>
        </p:spPr>
      </p:pic>
    </p:spTree>
    <p:custDataLst>
      <p:tags r:id="rId2"/>
    </p:custDataLst>
    <p:extLst>
      <p:ext uri="{BB962C8B-B14F-4D97-AF65-F5344CB8AC3E}">
        <p14:creationId xmlns:p14="http://schemas.microsoft.com/office/powerpoint/2010/main" val="88296960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2031325"/>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FC044"/>
                </a:solidFill>
                <a:latin typeface="ACHS Nueva Sans Medium" pitchFamily="2" charset="0"/>
                <a:cs typeface="Arial" panose="020B0604020202020204" pitchFamily="34" charset="0"/>
              </a:rPr>
              <a:t>Principios para la gestión preventiva</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342900" indent="-342900" algn="just">
              <a:spcBef>
                <a:spcPct val="0"/>
              </a:spcBef>
              <a:buClr>
                <a:srgbClr val="15BF45"/>
              </a:buClr>
              <a:buAutoNum type="arabicPeriod"/>
            </a:pPr>
            <a:r>
              <a:rPr lang="es-ES" altLang="es-CL" dirty="0">
                <a:solidFill>
                  <a:srgbClr val="014B14"/>
                </a:solidFill>
                <a:latin typeface="ACHS Nueva Sans Medium" pitchFamily="2" charset="0"/>
                <a:cs typeface="Arial" panose="020B0604020202020204" pitchFamily="34" charset="0"/>
              </a:rPr>
              <a:t>Principio</a:t>
            </a:r>
          </a:p>
          <a:p>
            <a:pPr marL="342900" indent="-342900" algn="just">
              <a:spcBef>
                <a:spcPct val="0"/>
              </a:spcBef>
              <a:buClr>
                <a:srgbClr val="15BF45"/>
              </a:buClr>
              <a:buAutoNum type="arabicPeriod"/>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Enfoque en la gestión de los riesgos laborales y en la adaptación del trabajo a las personas, desde el diseño de los procesos, puestos de trabajo, priorizando la eliminación o el control de los riesgos en su origen o fuente.</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20" name="Grupo 19"/>
          <p:cNvGrpSpPr/>
          <p:nvPr/>
        </p:nvGrpSpPr>
        <p:grpSpPr>
          <a:xfrm>
            <a:off x="1487756" y="3638335"/>
            <a:ext cx="8946292" cy="2869175"/>
            <a:chOff x="1450986" y="3076091"/>
            <a:chExt cx="8946292" cy="2869175"/>
          </a:xfrm>
        </p:grpSpPr>
        <p:sp>
          <p:nvSpPr>
            <p:cNvPr id="21" name="Rectángulo 20"/>
            <p:cNvSpPr/>
            <p:nvPr/>
          </p:nvSpPr>
          <p:spPr>
            <a:xfrm>
              <a:off x="1450986" y="3076091"/>
              <a:ext cx="8946292" cy="2869175"/>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a:p>
          </p:txBody>
        </p:sp>
        <p:pic>
          <p:nvPicPr>
            <p:cNvPr id="22" name="Picture 2" descr="https://achsgestion.achs.cl/images/librariesprovider7/dise%C3%B1o/infografia-estructura.png?sfvrsn=bf1a8053_1"/>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96632" y="3706128"/>
              <a:ext cx="8248909" cy="21997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ángulo 22"/>
            <p:cNvSpPr/>
            <p:nvPr/>
          </p:nvSpPr>
          <p:spPr>
            <a:xfrm>
              <a:off x="3428999" y="3143480"/>
              <a:ext cx="4868564" cy="523220"/>
            </a:xfrm>
            <a:prstGeom prst="rect">
              <a:avLst/>
            </a:prstGeom>
          </p:spPr>
          <p:txBody>
            <a:bodyPr wrap="square">
              <a:spAutoFit/>
            </a:bodyPr>
            <a:lstStyle/>
            <a:p>
              <a:pPr algn="ctr"/>
              <a:r>
                <a:rPr lang="es-MX" sz="1400" dirty="0">
                  <a:solidFill>
                    <a:srgbClr val="004C14"/>
                  </a:solidFill>
                  <a:latin typeface="ACHS Nueva Sans" pitchFamily="2" charset="0"/>
                </a:rPr>
                <a:t>Adaptar los procesos y puestos de trabajo a las necesidades de los trabajadores</a:t>
              </a:r>
              <a:endParaRPr lang="es-CL" sz="1400" dirty="0">
                <a:solidFill>
                  <a:srgbClr val="004C14"/>
                </a:solidFill>
                <a:latin typeface="ACHS Nueva Sans" pitchFamily="2" charset="0"/>
              </a:endParaRPr>
            </a:p>
          </p:txBody>
        </p:sp>
      </p:grpSp>
    </p:spTree>
    <p:custDataLst>
      <p:tags r:id="rId2"/>
    </p:custDataLst>
    <p:extLst>
      <p:ext uri="{BB962C8B-B14F-4D97-AF65-F5344CB8AC3E}">
        <p14:creationId xmlns:p14="http://schemas.microsoft.com/office/powerpoint/2010/main" val="361216186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n 1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07680" y="0"/>
            <a:ext cx="4136571" cy="6858000"/>
          </a:xfrm>
          <a:prstGeom prst="rect">
            <a:avLst/>
          </a:prstGeom>
        </p:spPr>
      </p:pic>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Diapositiva de think-cell" r:id="rId7" imgW="384" imgH="384" progId="TCLayout.ActiveDocument.1">
                  <p:embed/>
                </p:oleObj>
              </mc:Choice>
              <mc:Fallback>
                <p:oleObj name="Diapositiva de think-cell" r:id="rId7"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2585323"/>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FC044"/>
                </a:solidFill>
                <a:latin typeface="ACHS Nueva Sans Medium" pitchFamily="2" charset="0"/>
                <a:cs typeface="Arial" panose="020B0604020202020204" pitchFamily="34" charset="0"/>
              </a:rPr>
              <a:t>Principios para la gestión preventiva</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342900" indent="-342900" algn="just">
              <a:spcBef>
                <a:spcPct val="0"/>
              </a:spcBef>
              <a:buClr>
                <a:srgbClr val="15BF45"/>
              </a:buClr>
              <a:buFont typeface="+mj-lt"/>
              <a:buAutoNum type="arabicPeriod" startAt="2"/>
            </a:pPr>
            <a:r>
              <a:rPr lang="es-ES" altLang="es-CL" dirty="0">
                <a:solidFill>
                  <a:srgbClr val="014B14"/>
                </a:solidFill>
                <a:latin typeface="ACHS Nueva Sans Medium" pitchFamily="2" charset="0"/>
                <a:cs typeface="Arial" panose="020B0604020202020204" pitchFamily="34" charset="0"/>
              </a:rPr>
              <a:t>Principio</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Enfoque de género en la gestión de los riesgos laborales, siempre considerando la exposición de manera diferenciada a los riesgos laborales ya que las personas cuentan con condiciones biológicas, sociales y desiguales, pudiendo producir efectos diversos en su salud.</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2733737082"/>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65805" y="10736"/>
            <a:ext cx="4019107" cy="6858000"/>
          </a:xfrm>
          <a:prstGeom prst="rect">
            <a:avLst/>
          </a:prstGeom>
        </p:spPr>
      </p:pic>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Diapositiva de think-cell" r:id="rId7" imgW="384" imgH="384" progId="TCLayout.ActiveDocument.1">
                  <p:embed/>
                </p:oleObj>
              </mc:Choice>
              <mc:Fallback>
                <p:oleObj name="Diapositiva de think-cell" r:id="rId7"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2308324"/>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FC044"/>
                </a:solidFill>
                <a:latin typeface="ACHS Nueva Sans Medium" pitchFamily="2" charset="0"/>
                <a:cs typeface="Arial" panose="020B0604020202020204" pitchFamily="34" charset="0"/>
              </a:rPr>
              <a:t>Principios para la gestión preventiva</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342900" indent="-342900" algn="just">
              <a:spcBef>
                <a:spcPct val="0"/>
              </a:spcBef>
              <a:buClr>
                <a:srgbClr val="15BF45"/>
              </a:buClr>
              <a:buFont typeface="+mj-lt"/>
              <a:buAutoNum type="arabicPeriod" startAt="3"/>
            </a:pPr>
            <a:r>
              <a:rPr lang="es-ES" altLang="es-CL" dirty="0">
                <a:solidFill>
                  <a:srgbClr val="014B14"/>
                </a:solidFill>
                <a:latin typeface="ACHS Nueva Sans Medium" pitchFamily="2" charset="0"/>
                <a:cs typeface="Arial" panose="020B0604020202020204" pitchFamily="34" charset="0"/>
              </a:rPr>
              <a:t>Principio</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Compromiso de los representantes y directivos de las entidades empleadoras y promoción de la participación permanente de las personas trabajadoras o sus representantes en la gestión de los riesgos laborales.</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67748444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6" cstate="email">
            <a:extLst>
              <a:ext uri="{28A0092B-C50C-407E-A947-70E740481C1C}">
                <a14:useLocalDpi xmlns:a14="http://schemas.microsoft.com/office/drawing/2010/main"/>
              </a:ext>
            </a:extLst>
          </a:blip>
          <a:srcRect b="-310"/>
          <a:stretch/>
        </p:blipFill>
        <p:spPr>
          <a:xfrm>
            <a:off x="8144540" y="0"/>
            <a:ext cx="4082902" cy="6883016"/>
          </a:xfrm>
          <a:prstGeom prst="rect">
            <a:avLst/>
          </a:prstGeom>
        </p:spPr>
      </p:pic>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Diapositiva de think-cell" r:id="rId7" imgW="384" imgH="384" progId="TCLayout.ActiveDocument.1">
                  <p:embed/>
                </p:oleObj>
              </mc:Choice>
              <mc:Fallback>
                <p:oleObj name="Diapositiva de think-cell" r:id="rId7"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1477328"/>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FC044"/>
                </a:solidFill>
                <a:latin typeface="ACHS Nueva Sans Medium" pitchFamily="2" charset="0"/>
                <a:cs typeface="Arial" panose="020B0604020202020204" pitchFamily="34" charset="0"/>
              </a:rPr>
              <a:t>Principios para la gestión preventiva</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342900" indent="-342900" algn="just">
              <a:spcBef>
                <a:spcPct val="0"/>
              </a:spcBef>
              <a:buClr>
                <a:srgbClr val="15BF45"/>
              </a:buClr>
              <a:buFont typeface="+mj-lt"/>
              <a:buAutoNum type="arabicPeriod" startAt="4"/>
            </a:pPr>
            <a:r>
              <a:rPr lang="es-ES" altLang="es-CL" dirty="0">
                <a:solidFill>
                  <a:srgbClr val="014B14"/>
                </a:solidFill>
                <a:latin typeface="ACHS Nueva Sans Medium" pitchFamily="2" charset="0"/>
                <a:cs typeface="Arial" panose="020B0604020202020204" pitchFamily="34" charset="0"/>
              </a:rPr>
              <a:t>Principio</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Mejora continua de la gestión de los riesgos laborales.</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4" name="Grupo 3"/>
          <p:cNvGrpSpPr/>
          <p:nvPr/>
        </p:nvGrpSpPr>
        <p:grpSpPr>
          <a:xfrm>
            <a:off x="1774513" y="3215914"/>
            <a:ext cx="4609500" cy="3540537"/>
            <a:chOff x="2381058" y="3215914"/>
            <a:chExt cx="4609500" cy="3540537"/>
          </a:xfrm>
        </p:grpSpPr>
        <p:grpSp>
          <p:nvGrpSpPr>
            <p:cNvPr id="8" name="Grupo 7"/>
            <p:cNvGrpSpPr/>
            <p:nvPr/>
          </p:nvGrpSpPr>
          <p:grpSpPr>
            <a:xfrm>
              <a:off x="4079263" y="3709579"/>
              <a:ext cx="1202230" cy="357662"/>
              <a:chOff x="6387848" y="3429000"/>
              <a:chExt cx="2952000" cy="780326"/>
            </a:xfrm>
          </p:grpSpPr>
          <p:sp>
            <p:nvSpPr>
              <p:cNvPr id="9" name="Rectángulo redondeado 8"/>
              <p:cNvSpPr/>
              <p:nvPr/>
            </p:nvSpPr>
            <p:spPr>
              <a:xfrm>
                <a:off x="6387848"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rial"/>
                  <a:ea typeface="+mn-ea"/>
                  <a:cs typeface="+mn-cs"/>
                </a:endParaRPr>
              </a:p>
            </p:txBody>
          </p:sp>
          <p:sp>
            <p:nvSpPr>
              <p:cNvPr id="10" name="Rectángulo 9"/>
              <p:cNvSpPr/>
              <p:nvPr/>
            </p:nvSpPr>
            <p:spPr>
              <a:xfrm>
                <a:off x="6714232" y="3466312"/>
                <a:ext cx="2324265" cy="671490"/>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014B14"/>
                    </a:solidFill>
                    <a:effectLst/>
                    <a:uLnTx/>
                    <a:uFillTx/>
                    <a:latin typeface="ACHS Nueva Sans" pitchFamily="2" charset="0"/>
                  </a:rPr>
                  <a:t>Políticas</a:t>
                </a:r>
              </a:p>
            </p:txBody>
          </p:sp>
        </p:grpSp>
        <p:grpSp>
          <p:nvGrpSpPr>
            <p:cNvPr id="11" name="Grupo 10"/>
            <p:cNvGrpSpPr/>
            <p:nvPr/>
          </p:nvGrpSpPr>
          <p:grpSpPr>
            <a:xfrm>
              <a:off x="4830989" y="5382777"/>
              <a:ext cx="1202230" cy="357662"/>
              <a:chOff x="6387848" y="3429000"/>
              <a:chExt cx="2952000" cy="780326"/>
            </a:xfrm>
          </p:grpSpPr>
          <p:sp>
            <p:nvSpPr>
              <p:cNvPr id="12" name="Rectángulo redondeado 11"/>
              <p:cNvSpPr/>
              <p:nvPr/>
            </p:nvSpPr>
            <p:spPr>
              <a:xfrm>
                <a:off x="6387848"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rial"/>
                  <a:ea typeface="+mn-ea"/>
                  <a:cs typeface="+mn-cs"/>
                </a:endParaRPr>
              </a:p>
            </p:txBody>
          </p:sp>
          <p:sp>
            <p:nvSpPr>
              <p:cNvPr id="13" name="Rectángulo 12"/>
              <p:cNvSpPr/>
              <p:nvPr/>
            </p:nvSpPr>
            <p:spPr>
              <a:xfrm>
                <a:off x="6714232" y="3466312"/>
                <a:ext cx="2324265" cy="671490"/>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014B14"/>
                    </a:solidFill>
                    <a:effectLst/>
                    <a:uLnTx/>
                    <a:uFillTx/>
                    <a:latin typeface="ACHS Nueva Sans" pitchFamily="2" charset="0"/>
                  </a:rPr>
                  <a:t>Procesos</a:t>
                </a:r>
              </a:p>
            </p:txBody>
          </p:sp>
        </p:grpSp>
        <p:grpSp>
          <p:nvGrpSpPr>
            <p:cNvPr id="14" name="Grupo 13"/>
            <p:cNvGrpSpPr/>
            <p:nvPr/>
          </p:nvGrpSpPr>
          <p:grpSpPr>
            <a:xfrm>
              <a:off x="3311052" y="5381009"/>
              <a:ext cx="1369327" cy="357662"/>
              <a:chOff x="6387848" y="3429000"/>
              <a:chExt cx="2952000" cy="780326"/>
            </a:xfrm>
          </p:grpSpPr>
          <p:sp>
            <p:nvSpPr>
              <p:cNvPr id="15" name="Rectángulo redondeado 14"/>
              <p:cNvSpPr/>
              <p:nvPr/>
            </p:nvSpPr>
            <p:spPr>
              <a:xfrm>
                <a:off x="6387848" y="3429000"/>
                <a:ext cx="2952000" cy="780326"/>
              </a:xfrm>
              <a:prstGeom prst="roundRect">
                <a:avLst/>
              </a:prstGeom>
              <a:solidFill>
                <a:srgbClr val="EAEADE"/>
              </a:solidFill>
              <a:ln w="12700" cap="flat" cmpd="sng" algn="ctr">
                <a:solidFill>
                  <a:srgbClr val="13C045"/>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rial"/>
                  <a:ea typeface="+mn-ea"/>
                  <a:cs typeface="+mn-cs"/>
                </a:endParaRPr>
              </a:p>
            </p:txBody>
          </p:sp>
          <p:sp>
            <p:nvSpPr>
              <p:cNvPr id="16" name="Rectángulo 15"/>
              <p:cNvSpPr/>
              <p:nvPr/>
            </p:nvSpPr>
            <p:spPr>
              <a:xfrm>
                <a:off x="6714230" y="3466312"/>
                <a:ext cx="2591772" cy="671490"/>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014B14"/>
                    </a:solidFill>
                    <a:effectLst/>
                    <a:uLnTx/>
                    <a:uFillTx/>
                    <a:latin typeface="ACHS Nueva Sans" pitchFamily="2" charset="0"/>
                  </a:rPr>
                  <a:t>Programas</a:t>
                </a:r>
              </a:p>
            </p:txBody>
          </p:sp>
        </p:grpSp>
        <p:sp>
          <p:nvSpPr>
            <p:cNvPr id="18" name="Flecha curvada hacia la derecha 17"/>
            <p:cNvSpPr/>
            <p:nvPr/>
          </p:nvSpPr>
          <p:spPr>
            <a:xfrm rot="5400000">
              <a:off x="3838107" y="1758865"/>
              <a:ext cx="1466929" cy="4381027"/>
            </a:xfrm>
            <a:prstGeom prst="curvedRightArrow">
              <a:avLst>
                <a:gd name="adj1" fmla="val 25000"/>
                <a:gd name="adj2" fmla="val 49057"/>
                <a:gd name="adj3" fmla="val 25000"/>
              </a:avLst>
            </a:prstGeom>
            <a:solidFill>
              <a:srgbClr val="13C045"/>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Flecha curvada hacia la derecha 19"/>
            <p:cNvSpPr/>
            <p:nvPr/>
          </p:nvSpPr>
          <p:spPr>
            <a:xfrm rot="16200000">
              <a:off x="3938288" y="3704181"/>
              <a:ext cx="1695514" cy="4409026"/>
            </a:xfrm>
            <a:prstGeom prst="curvedRightArrow">
              <a:avLst>
                <a:gd name="adj1" fmla="val 25000"/>
                <a:gd name="adj2" fmla="val 49057"/>
                <a:gd name="adj3" fmla="val 25000"/>
              </a:avLst>
            </a:prstGeom>
            <a:solidFill>
              <a:srgbClr val="13C045"/>
            </a:solidFill>
            <a:ln w="12700" cap="flat" cmpd="sng" algn="ctr">
              <a:solidFill>
                <a:srgbClr val="13C045"/>
              </a:solidFill>
              <a:prstDash val="solid"/>
              <a:miter lim="800000"/>
              <a:headEnd type="none" w="med" len="med"/>
              <a:tailEnd type="arrow" w="med" len="med"/>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1" name="Rectángulo 20"/>
            <p:cNvSpPr/>
            <p:nvPr/>
          </p:nvSpPr>
          <p:spPr>
            <a:xfrm>
              <a:off x="3489373" y="4359851"/>
              <a:ext cx="2382011" cy="830997"/>
            </a:xfrm>
            <a:prstGeom prst="rect">
              <a:avLst/>
            </a:prstGeom>
          </p:spPr>
          <p:txBody>
            <a:bodyPr wrap="square">
              <a:spAutoFit/>
            </a:bodyPr>
            <a:lstStyle/>
            <a:p>
              <a:pPr algn="ctr"/>
              <a:r>
                <a:rPr lang="es-MX" sz="1600" b="1" dirty="0">
                  <a:solidFill>
                    <a:srgbClr val="004C14"/>
                  </a:solidFill>
                  <a:latin typeface="ACHS Nueva Sans" pitchFamily="2" charset="0"/>
                </a:rPr>
                <a:t>Optimización permanente de los procesos preventivos</a:t>
              </a:r>
              <a:endParaRPr lang="es-CL" sz="1600" b="1" dirty="0">
                <a:solidFill>
                  <a:srgbClr val="004C14"/>
                </a:solidFill>
                <a:latin typeface="ACHS Nueva Sans" pitchFamily="2" charset="0"/>
              </a:endParaRPr>
            </a:p>
          </p:txBody>
        </p:sp>
      </p:grpSp>
    </p:spTree>
    <p:custDataLst>
      <p:tags r:id="rId2"/>
    </p:custDataLst>
    <p:extLst>
      <p:ext uri="{BB962C8B-B14F-4D97-AF65-F5344CB8AC3E}">
        <p14:creationId xmlns:p14="http://schemas.microsoft.com/office/powerpoint/2010/main" val="3063289084"/>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44539" y="5368"/>
            <a:ext cx="4040373" cy="6858000"/>
          </a:xfrm>
          <a:prstGeom prst="rect">
            <a:avLst/>
          </a:prstGeom>
        </p:spPr>
      </p:pic>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Diapositiva de think-cell" r:id="rId7" imgW="384" imgH="384" progId="TCLayout.ActiveDocument.1">
                  <p:embed/>
                </p:oleObj>
              </mc:Choice>
              <mc:Fallback>
                <p:oleObj name="Diapositiva de think-cell" r:id="rId7"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2862322"/>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FC044"/>
                </a:solidFill>
                <a:latin typeface="ACHS Nueva Sans Medium" pitchFamily="2" charset="0"/>
                <a:cs typeface="Arial" panose="020B0604020202020204" pitchFamily="34" charset="0"/>
              </a:rPr>
              <a:t>Principios para la gestión preventiva</a:t>
            </a:r>
          </a:p>
          <a:p>
            <a:pPr algn="just">
              <a:spcBef>
                <a:spcPct val="0"/>
              </a:spcBef>
              <a:buClr>
                <a:srgbClr val="15BF45"/>
              </a:buClr>
            </a:pPr>
            <a:endParaRPr lang="es-CL" altLang="es-CL" dirty="0">
              <a:solidFill>
                <a:srgbClr val="014B14"/>
              </a:solidFill>
              <a:latin typeface="ACHS Nueva Sans" pitchFamily="2" charset="0"/>
              <a:cs typeface="Arial" panose="020B0604020202020204" pitchFamily="34" charset="0"/>
            </a:endParaRPr>
          </a:p>
          <a:p>
            <a:pPr marL="342900" indent="-342900" algn="just">
              <a:spcBef>
                <a:spcPct val="0"/>
              </a:spcBef>
              <a:buClr>
                <a:srgbClr val="15BF45"/>
              </a:buClr>
              <a:buFont typeface="+mj-lt"/>
              <a:buAutoNum type="arabicPeriod" startAt="5"/>
            </a:pPr>
            <a:r>
              <a:rPr lang="es-ES" altLang="es-CL" dirty="0">
                <a:solidFill>
                  <a:srgbClr val="014B14"/>
                </a:solidFill>
                <a:latin typeface="ACHS Nueva Sans Medium" pitchFamily="2" charset="0"/>
                <a:cs typeface="Arial" panose="020B0604020202020204" pitchFamily="34" charset="0"/>
              </a:rPr>
              <a:t>Principio</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Responsabilidad de la gestión de los riesgos laborales de las entidades empleadoras en su rol de empresa principal, usuaria o de la persona trabajadora independiente y de los deberes de cuidado, colaboración y observancia de las personas trabajadoras respecto de la gestión preventiva empresarial. </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Objetivos y principios del Decreto N° 44</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3340593276"/>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650C254-9E64-D24E-B8A4-8DEA80F8A13B}"/>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A5FF9129-A49F-0546-A2BE-FC241AB2663C}"/>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A8533FCD-4099-3940-A115-DCC8AC58304E}"/>
              </a:ext>
            </a:extLst>
          </p:cNvPr>
          <p:cNvSpPr/>
          <p:nvPr/>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 xmlns:a16="http://schemas.microsoft.com/office/drawing/2014/main" id="{0D0ACBD7-CA02-A349-A3CE-01BA17BA40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6" name="Título 30">
            <a:extLst>
              <a:ext uri="{FF2B5EF4-FFF2-40B4-BE49-F238E27FC236}">
                <a16:creationId xmlns="" xmlns:a16="http://schemas.microsoft.com/office/drawing/2014/main" id="{0EFAEB4C-E86E-104A-841D-1DD7FBF71FBF}"/>
              </a:ext>
            </a:extLst>
          </p:cNvPr>
          <p:cNvSpPr txBox="1">
            <a:spLocks/>
          </p:cNvSpPr>
          <p:nvPr/>
        </p:nvSpPr>
        <p:spPr>
          <a:xfrm>
            <a:off x="450000" y="496800"/>
            <a:ext cx="4710406" cy="4648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000" dirty="0">
                <a:solidFill>
                  <a:srgbClr val="15C047"/>
                </a:solidFill>
                <a:latin typeface="ACHS Nueva Serif" pitchFamily="2" charset="0"/>
                <a:cs typeface="Arial" panose="020B0604020202020204" pitchFamily="34" charset="0"/>
              </a:rPr>
              <a:t>Obejtivos</a:t>
            </a:r>
          </a:p>
        </p:txBody>
      </p:sp>
      <p:sp>
        <p:nvSpPr>
          <p:cNvPr id="7" name="21 Rectángulo">
            <a:extLst>
              <a:ext uri="{FF2B5EF4-FFF2-40B4-BE49-F238E27FC236}">
                <a16:creationId xmlns="" xmlns:a16="http://schemas.microsoft.com/office/drawing/2014/main" id="{F8EB17EC-6B60-2A4B-9318-C4FC23E57C1A}"/>
              </a:ext>
            </a:extLst>
          </p:cNvPr>
          <p:cNvSpPr/>
          <p:nvPr/>
        </p:nvSpPr>
        <p:spPr>
          <a:xfrm>
            <a:off x="6096000" y="2863207"/>
            <a:ext cx="3520677" cy="348539"/>
          </a:xfrm>
          <a:prstGeom prst="rect">
            <a:avLst/>
          </a:prstGeom>
        </p:spPr>
        <p:txBody>
          <a:bodyPr wrap="square" lIns="69696" tIns="36000" rIns="69696" bIns="3484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2BF45"/>
                </a:solidFill>
                <a:effectLst/>
                <a:uLnTx/>
                <a:uFillTx/>
                <a:latin typeface="ACHS Nueva Serif" pitchFamily="2" charset="0"/>
                <a:ea typeface="+mn-ea"/>
                <a:cs typeface="Arial" panose="020B0604020202020204" pitchFamily="34" charset="0"/>
                <a:sym typeface="Helvetica Neue"/>
              </a:rPr>
              <a:t>OBJETIVO</a:t>
            </a:r>
          </a:p>
        </p:txBody>
      </p:sp>
      <p:sp>
        <p:nvSpPr>
          <p:cNvPr id="8" name="21 Rectángulo">
            <a:extLst>
              <a:ext uri="{FF2B5EF4-FFF2-40B4-BE49-F238E27FC236}">
                <a16:creationId xmlns="" xmlns:a16="http://schemas.microsoft.com/office/drawing/2014/main" id="{446335A6-EAD4-0247-9833-6E25C18FE4CB}"/>
              </a:ext>
            </a:extLst>
          </p:cNvPr>
          <p:cNvSpPr/>
          <p:nvPr/>
        </p:nvSpPr>
        <p:spPr>
          <a:xfrm>
            <a:off x="6096000" y="3330657"/>
            <a:ext cx="4556289" cy="584775"/>
          </a:xfrm>
          <a:prstGeom prst="rect">
            <a:avLst/>
          </a:prstGeom>
          <a:noFill/>
        </p:spPr>
        <p:txBody>
          <a:bodyPr wrap="square">
            <a:spAutoFit/>
          </a:bodyPr>
          <a:lstStyle/>
          <a:p>
            <a:r>
              <a:rPr lang="es-CL" sz="1600" dirty="0">
                <a:latin typeface="ACHS Nueva Serif" pitchFamily="2" charset="0"/>
                <a:cs typeface="Arial" panose="020B0604020202020204" pitchFamily="34" charset="0"/>
              </a:rPr>
              <a:t>Conocer los principales ajustes normativos que implica la publicación del Decreto N°44.</a:t>
            </a:r>
            <a:endParaRPr lang="es-ES" sz="1600" dirty="0">
              <a:latin typeface="ACHS Nueva Serif" pitchFamily="2" charset="0"/>
              <a:cs typeface="Arial" panose="020B0604020202020204" pitchFamily="34" charset="0"/>
              <a:sym typeface="Helvetica" charset="0"/>
            </a:endParaRPr>
          </a:p>
        </p:txBody>
      </p:sp>
      <p:cxnSp>
        <p:nvCxnSpPr>
          <p:cNvPr id="9" name="Conector recto 8">
            <a:extLst>
              <a:ext uri="{FF2B5EF4-FFF2-40B4-BE49-F238E27FC236}">
                <a16:creationId xmlns="" xmlns:a16="http://schemas.microsoft.com/office/drawing/2014/main" id="{57CBADFD-F210-5E4D-A9F5-D4C03472D893}"/>
              </a:ext>
            </a:extLst>
          </p:cNvPr>
          <p:cNvCxnSpPr>
            <a:cxnSpLocks/>
          </p:cNvCxnSpPr>
          <p:nvPr/>
        </p:nvCxnSpPr>
        <p:spPr>
          <a:xfrm>
            <a:off x="592875" y="377888"/>
            <a:ext cx="144613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0" name="Picture 38">
            <a:extLst>
              <a:ext uri="{FF2B5EF4-FFF2-40B4-BE49-F238E27FC236}">
                <a16:creationId xmlns="" xmlns:a16="http://schemas.microsoft.com/office/drawing/2014/main" id="{2EE38538-70C4-7B4C-BCB4-68D4BB70F636}"/>
              </a:ext>
            </a:extLst>
          </p:cNvPr>
          <p:cNvPicPr>
            <a:picLocks noChangeAspect="1"/>
          </p:cNvPicPr>
          <p:nvPr/>
        </p:nvPicPr>
        <p:blipFill>
          <a:blip r:embed="rId4"/>
          <a:stretch>
            <a:fillRect/>
          </a:stretch>
        </p:blipFill>
        <p:spPr>
          <a:xfrm flipH="1">
            <a:off x="-582722" y="1623225"/>
            <a:ext cx="5294851" cy="5455300"/>
          </a:xfrm>
          <a:prstGeom prst="rect">
            <a:avLst/>
          </a:prstGeom>
        </p:spPr>
      </p:pic>
    </p:spTree>
    <p:custDataLst>
      <p:tags r:id="rId1"/>
    </p:custDataLst>
    <p:extLst>
      <p:ext uri="{BB962C8B-B14F-4D97-AF65-F5344CB8AC3E}">
        <p14:creationId xmlns:p14="http://schemas.microsoft.com/office/powerpoint/2010/main" val="14832529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ángulo 60"/>
          <p:cNvSpPr/>
          <p:nvPr/>
        </p:nvSpPr>
        <p:spPr>
          <a:xfrm>
            <a:off x="0" y="3282462"/>
            <a:ext cx="12192000" cy="3575538"/>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a:p>
        </p:txBody>
      </p:sp>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369332"/>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a:pPr>
            <a:r>
              <a:rPr lang="es-ES" altLang="es-CL" b="1" dirty="0">
                <a:solidFill>
                  <a:srgbClr val="0FC044"/>
                </a:solidFill>
                <a:latin typeface="ACHS Nueva Sans Medium" pitchFamily="2" charset="0"/>
                <a:cs typeface="Arial" panose="020B0604020202020204" pitchFamily="34" charset="0"/>
              </a:rPr>
              <a:t>Organización preventiva de la entidad empleadora y sus lugares de trabajo</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cxnSp>
        <p:nvCxnSpPr>
          <p:cNvPr id="10" name="Conector angular 9"/>
          <p:cNvCxnSpPr>
            <a:stCxn id="32" idx="4"/>
            <a:endCxn id="14" idx="1"/>
          </p:cNvCxnSpPr>
          <p:nvPr/>
        </p:nvCxnSpPr>
        <p:spPr>
          <a:xfrm rot="16200000" flipH="1">
            <a:off x="151079" y="4396099"/>
            <a:ext cx="3488507" cy="277794"/>
          </a:xfrm>
          <a:prstGeom prst="bentConnector2">
            <a:avLst/>
          </a:prstGeom>
          <a:noFill/>
          <a:ln w="19050" cap="flat" cmpd="sng" algn="ctr">
            <a:solidFill>
              <a:srgbClr val="13C045"/>
            </a:solidFill>
            <a:prstDash val="dash"/>
            <a:miter lim="800000"/>
            <a:tailEnd type="triangle"/>
          </a:ln>
          <a:effectLst/>
        </p:spPr>
      </p:cxnSp>
      <p:cxnSp>
        <p:nvCxnSpPr>
          <p:cNvPr id="11" name="Conector angular 10"/>
          <p:cNvCxnSpPr>
            <a:stCxn id="32" idx="4"/>
            <a:endCxn id="26" idx="1"/>
          </p:cNvCxnSpPr>
          <p:nvPr/>
        </p:nvCxnSpPr>
        <p:spPr>
          <a:xfrm rot="16200000" flipH="1">
            <a:off x="1036153" y="3511024"/>
            <a:ext cx="1775718" cy="335155"/>
          </a:xfrm>
          <a:prstGeom prst="bentConnector2">
            <a:avLst/>
          </a:prstGeom>
          <a:noFill/>
          <a:ln w="19050" cap="flat" cmpd="sng" algn="ctr">
            <a:solidFill>
              <a:srgbClr val="13C045"/>
            </a:solidFill>
            <a:prstDash val="dash"/>
            <a:miter lim="800000"/>
            <a:tailEnd type="triangle"/>
          </a:ln>
          <a:effectLst/>
        </p:spPr>
      </p:cxnSp>
      <p:grpSp>
        <p:nvGrpSpPr>
          <p:cNvPr id="12" name="Grupo 11"/>
          <p:cNvGrpSpPr/>
          <p:nvPr/>
        </p:nvGrpSpPr>
        <p:grpSpPr>
          <a:xfrm>
            <a:off x="2034229" y="5101096"/>
            <a:ext cx="2744180" cy="1593652"/>
            <a:chOff x="1695505" y="4438459"/>
            <a:chExt cx="2744180" cy="1593652"/>
          </a:xfrm>
        </p:grpSpPr>
        <p:grpSp>
          <p:nvGrpSpPr>
            <p:cNvPr id="13" name="Group 92">
              <a:extLst>
                <a:ext uri="{FF2B5EF4-FFF2-40B4-BE49-F238E27FC236}">
                  <a16:creationId xmlns="" xmlns:a16="http://schemas.microsoft.com/office/drawing/2014/main" id="{9CB04406-8BA0-BA88-3D9B-A5CE88B85913}"/>
                </a:ext>
              </a:extLst>
            </p:cNvPr>
            <p:cNvGrpSpPr>
              <a:grpSpLocks noChangeAspect="1"/>
            </p:cNvGrpSpPr>
            <p:nvPr/>
          </p:nvGrpSpPr>
          <p:grpSpPr bwMode="auto">
            <a:xfrm>
              <a:off x="1763361" y="4438459"/>
              <a:ext cx="633035" cy="660658"/>
              <a:chOff x="2319" y="2183"/>
              <a:chExt cx="550" cy="574"/>
            </a:xfrm>
            <a:solidFill>
              <a:srgbClr val="13C045"/>
            </a:solidFill>
          </p:grpSpPr>
          <p:sp>
            <p:nvSpPr>
              <p:cNvPr id="16" name="Freeform 93">
                <a:extLst>
                  <a:ext uri="{FF2B5EF4-FFF2-40B4-BE49-F238E27FC236}">
                    <a16:creationId xmlns="" xmlns:a16="http://schemas.microsoft.com/office/drawing/2014/main" id="{22F82ECE-4BDA-931E-2679-E7AB25FC4453}"/>
                  </a:ext>
                </a:extLst>
              </p:cNvPr>
              <p:cNvSpPr>
                <a:spLocks/>
              </p:cNvSpPr>
              <p:nvPr/>
            </p:nvSpPr>
            <p:spPr bwMode="auto">
              <a:xfrm>
                <a:off x="2459" y="2183"/>
                <a:ext cx="86" cy="167"/>
              </a:xfrm>
              <a:custGeom>
                <a:avLst/>
                <a:gdLst>
                  <a:gd name="T0" fmla="*/ 81 w 142"/>
                  <a:gd name="T1" fmla="*/ 269 h 272"/>
                  <a:gd name="T2" fmla="*/ 81 w 142"/>
                  <a:gd name="T3" fmla="*/ 269 h 272"/>
                  <a:gd name="T4" fmla="*/ 95 w 142"/>
                  <a:gd name="T5" fmla="*/ 271 h 272"/>
                  <a:gd name="T6" fmla="*/ 108 w 142"/>
                  <a:gd name="T7" fmla="*/ 263 h 272"/>
                  <a:gd name="T8" fmla="*/ 111 w 142"/>
                  <a:gd name="T9" fmla="*/ 249 h 272"/>
                  <a:gd name="T10" fmla="*/ 103 w 142"/>
                  <a:gd name="T11" fmla="*/ 236 h 272"/>
                  <a:gd name="T12" fmla="*/ 88 w 142"/>
                  <a:gd name="T13" fmla="*/ 146 h 272"/>
                  <a:gd name="T14" fmla="*/ 61 w 142"/>
                  <a:gd name="T15" fmla="*/ 2 h 272"/>
                  <a:gd name="T16" fmla="*/ 51 w 142"/>
                  <a:gd name="T17" fmla="*/ 0 h 272"/>
                  <a:gd name="T18" fmla="*/ 47 w 142"/>
                  <a:gd name="T19" fmla="*/ 0 h 272"/>
                  <a:gd name="T20" fmla="*/ 34 w 142"/>
                  <a:gd name="T21" fmla="*/ 7 h 272"/>
                  <a:gd name="T22" fmla="*/ 39 w 142"/>
                  <a:gd name="T23" fmla="*/ 34 h 272"/>
                  <a:gd name="T24" fmla="*/ 55 w 142"/>
                  <a:gd name="T25" fmla="*/ 125 h 272"/>
                  <a:gd name="T26" fmla="*/ 55 w 142"/>
                  <a:gd name="T27" fmla="*/ 125 h 272"/>
                  <a:gd name="T28" fmla="*/ 81 w 142"/>
                  <a:gd name="T29" fmla="*/ 26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272">
                    <a:moveTo>
                      <a:pt x="81" y="269"/>
                    </a:moveTo>
                    <a:lnTo>
                      <a:pt x="81" y="269"/>
                    </a:lnTo>
                    <a:cubicBezTo>
                      <a:pt x="85" y="271"/>
                      <a:pt x="90" y="272"/>
                      <a:pt x="95" y="271"/>
                    </a:cubicBezTo>
                    <a:cubicBezTo>
                      <a:pt x="100" y="270"/>
                      <a:pt x="105" y="268"/>
                      <a:pt x="108" y="263"/>
                    </a:cubicBezTo>
                    <a:cubicBezTo>
                      <a:pt x="111" y="259"/>
                      <a:pt x="112" y="254"/>
                      <a:pt x="111" y="249"/>
                    </a:cubicBezTo>
                    <a:cubicBezTo>
                      <a:pt x="110" y="244"/>
                      <a:pt x="107" y="239"/>
                      <a:pt x="103" y="236"/>
                    </a:cubicBezTo>
                    <a:cubicBezTo>
                      <a:pt x="55" y="204"/>
                      <a:pt x="66" y="181"/>
                      <a:pt x="88" y="146"/>
                    </a:cubicBezTo>
                    <a:cubicBezTo>
                      <a:pt x="105" y="117"/>
                      <a:pt x="142" y="58"/>
                      <a:pt x="61" y="2"/>
                    </a:cubicBezTo>
                    <a:cubicBezTo>
                      <a:pt x="58" y="1"/>
                      <a:pt x="54" y="0"/>
                      <a:pt x="51" y="0"/>
                    </a:cubicBezTo>
                    <a:cubicBezTo>
                      <a:pt x="49" y="0"/>
                      <a:pt x="48" y="0"/>
                      <a:pt x="47" y="0"/>
                    </a:cubicBezTo>
                    <a:cubicBezTo>
                      <a:pt x="42" y="1"/>
                      <a:pt x="37" y="3"/>
                      <a:pt x="34" y="7"/>
                    </a:cubicBezTo>
                    <a:cubicBezTo>
                      <a:pt x="28" y="16"/>
                      <a:pt x="31" y="28"/>
                      <a:pt x="39" y="34"/>
                    </a:cubicBezTo>
                    <a:cubicBezTo>
                      <a:pt x="87" y="67"/>
                      <a:pt x="76" y="90"/>
                      <a:pt x="55" y="125"/>
                    </a:cubicBezTo>
                    <a:lnTo>
                      <a:pt x="55" y="125"/>
                    </a:lnTo>
                    <a:cubicBezTo>
                      <a:pt x="37" y="154"/>
                      <a:pt x="0" y="213"/>
                      <a:pt x="81" y="2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18" name="Freeform 94">
                <a:extLst>
                  <a:ext uri="{FF2B5EF4-FFF2-40B4-BE49-F238E27FC236}">
                    <a16:creationId xmlns="" xmlns:a16="http://schemas.microsoft.com/office/drawing/2014/main" id="{F99E2A3F-575E-71D0-3B84-80818F01ACC4}"/>
                  </a:ext>
                </a:extLst>
              </p:cNvPr>
              <p:cNvSpPr>
                <a:spLocks/>
              </p:cNvSpPr>
              <p:nvPr/>
            </p:nvSpPr>
            <p:spPr bwMode="auto">
              <a:xfrm>
                <a:off x="2393" y="2183"/>
                <a:ext cx="85" cy="167"/>
              </a:xfrm>
              <a:custGeom>
                <a:avLst/>
                <a:gdLst>
                  <a:gd name="T0" fmla="*/ 80 w 141"/>
                  <a:gd name="T1" fmla="*/ 270 h 273"/>
                  <a:gd name="T2" fmla="*/ 80 w 141"/>
                  <a:gd name="T3" fmla="*/ 270 h 273"/>
                  <a:gd name="T4" fmla="*/ 95 w 141"/>
                  <a:gd name="T5" fmla="*/ 272 h 273"/>
                  <a:gd name="T6" fmla="*/ 107 w 141"/>
                  <a:gd name="T7" fmla="*/ 264 h 273"/>
                  <a:gd name="T8" fmla="*/ 110 w 141"/>
                  <a:gd name="T9" fmla="*/ 250 h 273"/>
                  <a:gd name="T10" fmla="*/ 102 w 141"/>
                  <a:gd name="T11" fmla="*/ 237 h 273"/>
                  <a:gd name="T12" fmla="*/ 87 w 141"/>
                  <a:gd name="T13" fmla="*/ 147 h 273"/>
                  <a:gd name="T14" fmla="*/ 61 w 141"/>
                  <a:gd name="T15" fmla="*/ 3 h 273"/>
                  <a:gd name="T16" fmla="*/ 47 w 141"/>
                  <a:gd name="T17" fmla="*/ 1 h 273"/>
                  <a:gd name="T18" fmla="*/ 34 w 141"/>
                  <a:gd name="T19" fmla="*/ 8 h 273"/>
                  <a:gd name="T20" fmla="*/ 31 w 141"/>
                  <a:gd name="T21" fmla="*/ 23 h 273"/>
                  <a:gd name="T22" fmla="*/ 39 w 141"/>
                  <a:gd name="T23" fmla="*/ 35 h 273"/>
                  <a:gd name="T24" fmla="*/ 54 w 141"/>
                  <a:gd name="T25" fmla="*/ 126 h 273"/>
                  <a:gd name="T26" fmla="*/ 80 w 141"/>
                  <a:gd name="T27" fmla="*/ 27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273">
                    <a:moveTo>
                      <a:pt x="80" y="270"/>
                    </a:moveTo>
                    <a:lnTo>
                      <a:pt x="80" y="270"/>
                    </a:lnTo>
                    <a:cubicBezTo>
                      <a:pt x="84" y="272"/>
                      <a:pt x="90" y="273"/>
                      <a:pt x="95" y="272"/>
                    </a:cubicBezTo>
                    <a:cubicBezTo>
                      <a:pt x="100" y="271"/>
                      <a:pt x="105" y="269"/>
                      <a:pt x="107" y="264"/>
                    </a:cubicBezTo>
                    <a:cubicBezTo>
                      <a:pt x="110" y="260"/>
                      <a:pt x="111" y="255"/>
                      <a:pt x="110" y="250"/>
                    </a:cubicBezTo>
                    <a:cubicBezTo>
                      <a:pt x="110" y="245"/>
                      <a:pt x="107" y="240"/>
                      <a:pt x="102" y="237"/>
                    </a:cubicBezTo>
                    <a:cubicBezTo>
                      <a:pt x="55" y="205"/>
                      <a:pt x="66" y="182"/>
                      <a:pt x="87" y="147"/>
                    </a:cubicBezTo>
                    <a:cubicBezTo>
                      <a:pt x="105" y="118"/>
                      <a:pt x="141" y="59"/>
                      <a:pt x="61" y="3"/>
                    </a:cubicBezTo>
                    <a:cubicBezTo>
                      <a:pt x="57" y="1"/>
                      <a:pt x="52" y="0"/>
                      <a:pt x="47" y="1"/>
                    </a:cubicBezTo>
                    <a:cubicBezTo>
                      <a:pt x="41" y="2"/>
                      <a:pt x="37" y="4"/>
                      <a:pt x="34" y="8"/>
                    </a:cubicBezTo>
                    <a:cubicBezTo>
                      <a:pt x="31" y="13"/>
                      <a:pt x="30" y="18"/>
                      <a:pt x="31" y="23"/>
                    </a:cubicBezTo>
                    <a:cubicBezTo>
                      <a:pt x="32" y="28"/>
                      <a:pt x="35" y="33"/>
                      <a:pt x="39" y="35"/>
                    </a:cubicBezTo>
                    <a:cubicBezTo>
                      <a:pt x="87" y="68"/>
                      <a:pt x="76" y="91"/>
                      <a:pt x="54" y="126"/>
                    </a:cubicBezTo>
                    <a:cubicBezTo>
                      <a:pt x="37" y="155"/>
                      <a:pt x="0" y="214"/>
                      <a:pt x="80" y="2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19" name="Freeform 95">
                <a:extLst>
                  <a:ext uri="{FF2B5EF4-FFF2-40B4-BE49-F238E27FC236}">
                    <a16:creationId xmlns="" xmlns:a16="http://schemas.microsoft.com/office/drawing/2014/main" id="{282B6C9C-03E6-8E66-ED54-1AC0D1787240}"/>
                  </a:ext>
                </a:extLst>
              </p:cNvPr>
              <p:cNvSpPr>
                <a:spLocks noEditPoints="1"/>
              </p:cNvSpPr>
              <p:nvPr/>
            </p:nvSpPr>
            <p:spPr bwMode="auto">
              <a:xfrm>
                <a:off x="2319" y="2318"/>
                <a:ext cx="550" cy="439"/>
              </a:xfrm>
              <a:custGeom>
                <a:avLst/>
                <a:gdLst>
                  <a:gd name="T0" fmla="*/ 638 w 912"/>
                  <a:gd name="T1" fmla="*/ 279 h 720"/>
                  <a:gd name="T2" fmla="*/ 396 w 912"/>
                  <a:gd name="T3" fmla="*/ 369 h 720"/>
                  <a:gd name="T4" fmla="*/ 606 w 912"/>
                  <a:gd name="T5" fmla="*/ 212 h 720"/>
                  <a:gd name="T6" fmla="*/ 879 w 912"/>
                  <a:gd name="T7" fmla="*/ 456 h 720"/>
                  <a:gd name="T8" fmla="*/ 801 w 912"/>
                  <a:gd name="T9" fmla="*/ 683 h 720"/>
                  <a:gd name="T10" fmla="*/ 698 w 912"/>
                  <a:gd name="T11" fmla="*/ 471 h 720"/>
                  <a:gd name="T12" fmla="*/ 558 w 912"/>
                  <a:gd name="T13" fmla="*/ 683 h 720"/>
                  <a:gd name="T14" fmla="*/ 638 w 912"/>
                  <a:gd name="T15" fmla="*/ 317 h 720"/>
                  <a:gd name="T16" fmla="*/ 680 w 912"/>
                  <a:gd name="T17" fmla="*/ 683 h 720"/>
                  <a:gd name="T18" fmla="*/ 595 w 912"/>
                  <a:gd name="T19" fmla="*/ 508 h 720"/>
                  <a:gd name="T20" fmla="*/ 437 w 912"/>
                  <a:gd name="T21" fmla="*/ 501 h 720"/>
                  <a:gd name="T22" fmla="*/ 437 w 912"/>
                  <a:gd name="T23" fmla="*/ 467 h 720"/>
                  <a:gd name="T24" fmla="*/ 437 w 912"/>
                  <a:gd name="T25" fmla="*/ 683 h 720"/>
                  <a:gd name="T26" fmla="*/ 390 w 912"/>
                  <a:gd name="T27" fmla="*/ 549 h 720"/>
                  <a:gd name="T28" fmla="*/ 282 w 912"/>
                  <a:gd name="T29" fmla="*/ 683 h 720"/>
                  <a:gd name="T30" fmla="*/ 247 w 912"/>
                  <a:gd name="T31" fmla="*/ 549 h 720"/>
                  <a:gd name="T32" fmla="*/ 140 w 912"/>
                  <a:gd name="T33" fmla="*/ 683 h 720"/>
                  <a:gd name="T34" fmla="*/ 437 w 912"/>
                  <a:gd name="T35" fmla="*/ 538 h 720"/>
                  <a:gd name="T36" fmla="*/ 373 w 912"/>
                  <a:gd name="T37" fmla="*/ 683 h 720"/>
                  <a:gd name="T38" fmla="*/ 373 w 912"/>
                  <a:gd name="T39" fmla="*/ 582 h 720"/>
                  <a:gd name="T40" fmla="*/ 231 w 912"/>
                  <a:gd name="T41" fmla="*/ 683 h 720"/>
                  <a:gd name="T42" fmla="*/ 231 w 912"/>
                  <a:gd name="T43" fmla="*/ 582 h 720"/>
                  <a:gd name="T44" fmla="*/ 186 w 912"/>
                  <a:gd name="T45" fmla="*/ 113 h 720"/>
                  <a:gd name="T46" fmla="*/ 363 w 912"/>
                  <a:gd name="T47" fmla="*/ 490 h 720"/>
                  <a:gd name="T48" fmla="*/ 186 w 912"/>
                  <a:gd name="T49" fmla="*/ 113 h 720"/>
                  <a:gd name="T50" fmla="*/ 559 w 912"/>
                  <a:gd name="T51" fmla="*/ 36 h 720"/>
                  <a:gd name="T52" fmla="*/ 503 w 912"/>
                  <a:gd name="T53" fmla="*/ 36 h 720"/>
                  <a:gd name="T54" fmla="*/ 817 w 912"/>
                  <a:gd name="T55" fmla="*/ 79 h 720"/>
                  <a:gd name="T56" fmla="*/ 762 w 912"/>
                  <a:gd name="T57" fmla="*/ 79 h 720"/>
                  <a:gd name="T58" fmla="*/ 903 w 912"/>
                  <a:gd name="T59" fmla="*/ 504 h 720"/>
                  <a:gd name="T60" fmla="*/ 906 w 912"/>
                  <a:gd name="T61" fmla="*/ 347 h 720"/>
                  <a:gd name="T62" fmla="*/ 835 w 912"/>
                  <a:gd name="T63" fmla="*/ 43 h 720"/>
                  <a:gd name="T64" fmla="*/ 718 w 912"/>
                  <a:gd name="T65" fmla="*/ 206 h 720"/>
                  <a:gd name="T66" fmla="*/ 604 w 912"/>
                  <a:gd name="T67" fmla="*/ 172 h 720"/>
                  <a:gd name="T68" fmla="*/ 486 w 912"/>
                  <a:gd name="T69" fmla="*/ 0 h 720"/>
                  <a:gd name="T70" fmla="*/ 392 w 912"/>
                  <a:gd name="T71" fmla="*/ 330 h 720"/>
                  <a:gd name="T72" fmla="*/ 349 w 912"/>
                  <a:gd name="T73" fmla="*/ 76 h 720"/>
                  <a:gd name="T74" fmla="*/ 149 w 912"/>
                  <a:gd name="T75" fmla="*/ 112 h 720"/>
                  <a:gd name="T76" fmla="*/ 73 w 912"/>
                  <a:gd name="T77" fmla="*/ 683 h 720"/>
                  <a:gd name="T78" fmla="*/ 0 w 912"/>
                  <a:gd name="T79" fmla="*/ 702 h 720"/>
                  <a:gd name="T80" fmla="*/ 893 w 912"/>
                  <a:gd name="T81" fmla="*/ 720 h 720"/>
                  <a:gd name="T82" fmla="*/ 893 w 912"/>
                  <a:gd name="T83" fmla="*/ 684 h 720"/>
                  <a:gd name="T84" fmla="*/ 838 w 912"/>
                  <a:gd name="T85" fmla="*/ 46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2" h="720">
                    <a:moveTo>
                      <a:pt x="648" y="283"/>
                    </a:moveTo>
                    <a:lnTo>
                      <a:pt x="648" y="283"/>
                    </a:lnTo>
                    <a:cubicBezTo>
                      <a:pt x="645" y="280"/>
                      <a:pt x="641" y="279"/>
                      <a:pt x="638" y="279"/>
                    </a:cubicBezTo>
                    <a:cubicBezTo>
                      <a:pt x="634" y="279"/>
                      <a:pt x="631" y="280"/>
                      <a:pt x="628" y="283"/>
                    </a:cubicBezTo>
                    <a:lnTo>
                      <a:pt x="396" y="456"/>
                    </a:lnTo>
                    <a:lnTo>
                      <a:pt x="396" y="369"/>
                    </a:lnTo>
                    <a:lnTo>
                      <a:pt x="603" y="214"/>
                    </a:lnTo>
                    <a:lnTo>
                      <a:pt x="606" y="213"/>
                    </a:lnTo>
                    <a:lnTo>
                      <a:pt x="606" y="212"/>
                    </a:lnTo>
                    <a:lnTo>
                      <a:pt x="638" y="188"/>
                    </a:lnTo>
                    <a:lnTo>
                      <a:pt x="879" y="369"/>
                    </a:lnTo>
                    <a:lnTo>
                      <a:pt x="879" y="456"/>
                    </a:lnTo>
                    <a:lnTo>
                      <a:pt x="648" y="283"/>
                    </a:lnTo>
                    <a:close/>
                    <a:moveTo>
                      <a:pt x="801" y="683"/>
                    </a:moveTo>
                    <a:lnTo>
                      <a:pt x="801" y="683"/>
                    </a:lnTo>
                    <a:lnTo>
                      <a:pt x="717" y="683"/>
                    </a:lnTo>
                    <a:lnTo>
                      <a:pt x="717" y="489"/>
                    </a:lnTo>
                    <a:cubicBezTo>
                      <a:pt x="717" y="479"/>
                      <a:pt x="709" y="471"/>
                      <a:pt x="698" y="471"/>
                    </a:cubicBezTo>
                    <a:lnTo>
                      <a:pt x="577" y="471"/>
                    </a:lnTo>
                    <a:cubicBezTo>
                      <a:pt x="567" y="471"/>
                      <a:pt x="558" y="479"/>
                      <a:pt x="558" y="489"/>
                    </a:cubicBezTo>
                    <a:lnTo>
                      <a:pt x="558" y="683"/>
                    </a:lnTo>
                    <a:lnTo>
                      <a:pt x="474" y="683"/>
                    </a:lnTo>
                    <a:lnTo>
                      <a:pt x="474" y="440"/>
                    </a:lnTo>
                    <a:lnTo>
                      <a:pt x="638" y="317"/>
                    </a:lnTo>
                    <a:lnTo>
                      <a:pt x="801" y="440"/>
                    </a:lnTo>
                    <a:lnTo>
                      <a:pt x="801" y="683"/>
                    </a:lnTo>
                    <a:close/>
                    <a:moveTo>
                      <a:pt x="680" y="683"/>
                    </a:moveTo>
                    <a:lnTo>
                      <a:pt x="680" y="683"/>
                    </a:lnTo>
                    <a:lnTo>
                      <a:pt x="595" y="683"/>
                    </a:lnTo>
                    <a:lnTo>
                      <a:pt x="595" y="508"/>
                    </a:lnTo>
                    <a:lnTo>
                      <a:pt x="680" y="508"/>
                    </a:lnTo>
                    <a:lnTo>
                      <a:pt x="680" y="683"/>
                    </a:lnTo>
                    <a:close/>
                    <a:moveTo>
                      <a:pt x="437" y="501"/>
                    </a:moveTo>
                    <a:lnTo>
                      <a:pt x="437" y="501"/>
                    </a:lnTo>
                    <a:lnTo>
                      <a:pt x="392" y="501"/>
                    </a:lnTo>
                    <a:lnTo>
                      <a:pt x="437" y="467"/>
                    </a:lnTo>
                    <a:lnTo>
                      <a:pt x="437" y="501"/>
                    </a:lnTo>
                    <a:close/>
                    <a:moveTo>
                      <a:pt x="437" y="683"/>
                    </a:moveTo>
                    <a:lnTo>
                      <a:pt x="437" y="683"/>
                    </a:lnTo>
                    <a:lnTo>
                      <a:pt x="406" y="683"/>
                    </a:lnTo>
                    <a:lnTo>
                      <a:pt x="406" y="565"/>
                    </a:lnTo>
                    <a:cubicBezTo>
                      <a:pt x="406" y="556"/>
                      <a:pt x="399" y="549"/>
                      <a:pt x="390" y="549"/>
                    </a:cubicBezTo>
                    <a:lnTo>
                      <a:pt x="299" y="549"/>
                    </a:lnTo>
                    <a:cubicBezTo>
                      <a:pt x="289" y="549"/>
                      <a:pt x="282" y="556"/>
                      <a:pt x="282" y="565"/>
                    </a:cubicBezTo>
                    <a:lnTo>
                      <a:pt x="282" y="683"/>
                    </a:lnTo>
                    <a:lnTo>
                      <a:pt x="264" y="683"/>
                    </a:lnTo>
                    <a:lnTo>
                      <a:pt x="264" y="565"/>
                    </a:lnTo>
                    <a:cubicBezTo>
                      <a:pt x="264" y="556"/>
                      <a:pt x="257" y="549"/>
                      <a:pt x="247" y="549"/>
                    </a:cubicBezTo>
                    <a:lnTo>
                      <a:pt x="156" y="549"/>
                    </a:lnTo>
                    <a:cubicBezTo>
                      <a:pt x="147" y="549"/>
                      <a:pt x="140" y="556"/>
                      <a:pt x="140" y="565"/>
                    </a:cubicBezTo>
                    <a:lnTo>
                      <a:pt x="140" y="683"/>
                    </a:lnTo>
                    <a:lnTo>
                      <a:pt x="110" y="683"/>
                    </a:lnTo>
                    <a:lnTo>
                      <a:pt x="110" y="538"/>
                    </a:lnTo>
                    <a:lnTo>
                      <a:pt x="437" y="538"/>
                    </a:lnTo>
                    <a:lnTo>
                      <a:pt x="437" y="683"/>
                    </a:lnTo>
                    <a:close/>
                    <a:moveTo>
                      <a:pt x="373" y="683"/>
                    </a:moveTo>
                    <a:lnTo>
                      <a:pt x="373" y="683"/>
                    </a:lnTo>
                    <a:lnTo>
                      <a:pt x="315" y="683"/>
                    </a:lnTo>
                    <a:lnTo>
                      <a:pt x="315" y="582"/>
                    </a:lnTo>
                    <a:lnTo>
                      <a:pt x="373" y="582"/>
                    </a:lnTo>
                    <a:lnTo>
                      <a:pt x="373" y="683"/>
                    </a:lnTo>
                    <a:close/>
                    <a:moveTo>
                      <a:pt x="231" y="683"/>
                    </a:moveTo>
                    <a:lnTo>
                      <a:pt x="231" y="683"/>
                    </a:lnTo>
                    <a:lnTo>
                      <a:pt x="173" y="683"/>
                    </a:lnTo>
                    <a:lnTo>
                      <a:pt x="173" y="582"/>
                    </a:lnTo>
                    <a:lnTo>
                      <a:pt x="231" y="582"/>
                    </a:lnTo>
                    <a:lnTo>
                      <a:pt x="231" y="683"/>
                    </a:lnTo>
                    <a:close/>
                    <a:moveTo>
                      <a:pt x="186" y="113"/>
                    </a:moveTo>
                    <a:lnTo>
                      <a:pt x="186" y="113"/>
                    </a:lnTo>
                    <a:lnTo>
                      <a:pt x="331" y="113"/>
                    </a:lnTo>
                    <a:cubicBezTo>
                      <a:pt x="331" y="180"/>
                      <a:pt x="349" y="300"/>
                      <a:pt x="363" y="383"/>
                    </a:cubicBezTo>
                    <a:lnTo>
                      <a:pt x="363" y="490"/>
                    </a:lnTo>
                    <a:cubicBezTo>
                      <a:pt x="363" y="494"/>
                      <a:pt x="365" y="498"/>
                      <a:pt x="368" y="501"/>
                    </a:cubicBezTo>
                    <a:lnTo>
                      <a:pt x="127" y="501"/>
                    </a:lnTo>
                    <a:cubicBezTo>
                      <a:pt x="166" y="375"/>
                      <a:pt x="186" y="245"/>
                      <a:pt x="186" y="113"/>
                    </a:cubicBezTo>
                    <a:close/>
                    <a:moveTo>
                      <a:pt x="503" y="36"/>
                    </a:moveTo>
                    <a:lnTo>
                      <a:pt x="503" y="36"/>
                    </a:lnTo>
                    <a:lnTo>
                      <a:pt x="559" y="36"/>
                    </a:lnTo>
                    <a:lnTo>
                      <a:pt x="568" y="198"/>
                    </a:lnTo>
                    <a:lnTo>
                      <a:pt x="492" y="256"/>
                    </a:lnTo>
                    <a:lnTo>
                      <a:pt x="503" y="36"/>
                    </a:lnTo>
                    <a:close/>
                    <a:moveTo>
                      <a:pt x="762" y="79"/>
                    </a:moveTo>
                    <a:lnTo>
                      <a:pt x="762" y="79"/>
                    </a:lnTo>
                    <a:lnTo>
                      <a:pt x="817" y="79"/>
                    </a:lnTo>
                    <a:lnTo>
                      <a:pt x="829" y="289"/>
                    </a:lnTo>
                    <a:lnTo>
                      <a:pt x="753" y="233"/>
                    </a:lnTo>
                    <a:lnTo>
                      <a:pt x="762" y="79"/>
                    </a:lnTo>
                    <a:close/>
                    <a:moveTo>
                      <a:pt x="886" y="503"/>
                    </a:moveTo>
                    <a:lnTo>
                      <a:pt x="886" y="503"/>
                    </a:lnTo>
                    <a:cubicBezTo>
                      <a:pt x="891" y="507"/>
                      <a:pt x="898" y="507"/>
                      <a:pt x="903" y="504"/>
                    </a:cubicBezTo>
                    <a:cubicBezTo>
                      <a:pt x="909" y="502"/>
                      <a:pt x="912" y="496"/>
                      <a:pt x="912" y="490"/>
                    </a:cubicBezTo>
                    <a:lnTo>
                      <a:pt x="912" y="360"/>
                    </a:lnTo>
                    <a:cubicBezTo>
                      <a:pt x="912" y="355"/>
                      <a:pt x="910" y="350"/>
                      <a:pt x="906" y="347"/>
                    </a:cubicBezTo>
                    <a:lnTo>
                      <a:pt x="867" y="318"/>
                    </a:lnTo>
                    <a:lnTo>
                      <a:pt x="854" y="61"/>
                    </a:lnTo>
                    <a:cubicBezTo>
                      <a:pt x="853" y="51"/>
                      <a:pt x="845" y="43"/>
                      <a:pt x="835" y="43"/>
                    </a:cubicBezTo>
                    <a:lnTo>
                      <a:pt x="744" y="43"/>
                    </a:lnTo>
                    <a:cubicBezTo>
                      <a:pt x="734" y="43"/>
                      <a:pt x="726" y="51"/>
                      <a:pt x="725" y="61"/>
                    </a:cubicBezTo>
                    <a:lnTo>
                      <a:pt x="718" y="206"/>
                    </a:lnTo>
                    <a:lnTo>
                      <a:pt x="648" y="154"/>
                    </a:lnTo>
                    <a:cubicBezTo>
                      <a:pt x="642" y="149"/>
                      <a:pt x="634" y="149"/>
                      <a:pt x="628" y="154"/>
                    </a:cubicBezTo>
                    <a:lnTo>
                      <a:pt x="604" y="172"/>
                    </a:lnTo>
                    <a:lnTo>
                      <a:pt x="595" y="18"/>
                    </a:lnTo>
                    <a:cubicBezTo>
                      <a:pt x="595" y="8"/>
                      <a:pt x="587" y="0"/>
                      <a:pt x="577" y="0"/>
                    </a:cubicBezTo>
                    <a:lnTo>
                      <a:pt x="486" y="0"/>
                    </a:lnTo>
                    <a:cubicBezTo>
                      <a:pt x="476" y="0"/>
                      <a:pt x="468" y="8"/>
                      <a:pt x="467" y="18"/>
                    </a:cubicBezTo>
                    <a:lnTo>
                      <a:pt x="453" y="284"/>
                    </a:lnTo>
                    <a:lnTo>
                      <a:pt x="392" y="330"/>
                    </a:lnTo>
                    <a:cubicBezTo>
                      <a:pt x="381" y="259"/>
                      <a:pt x="368" y="171"/>
                      <a:pt x="368" y="112"/>
                    </a:cubicBezTo>
                    <a:lnTo>
                      <a:pt x="368" y="95"/>
                    </a:lnTo>
                    <a:cubicBezTo>
                      <a:pt x="368" y="85"/>
                      <a:pt x="360" y="76"/>
                      <a:pt x="349" y="76"/>
                    </a:cubicBezTo>
                    <a:lnTo>
                      <a:pt x="167" y="76"/>
                    </a:lnTo>
                    <a:cubicBezTo>
                      <a:pt x="157" y="76"/>
                      <a:pt x="149" y="85"/>
                      <a:pt x="149" y="95"/>
                    </a:cubicBezTo>
                    <a:lnTo>
                      <a:pt x="149" y="112"/>
                    </a:lnTo>
                    <a:cubicBezTo>
                      <a:pt x="149" y="244"/>
                      <a:pt x="128" y="375"/>
                      <a:pt x="88" y="501"/>
                    </a:cubicBezTo>
                    <a:lnTo>
                      <a:pt x="73" y="501"/>
                    </a:lnTo>
                    <a:lnTo>
                      <a:pt x="73" y="683"/>
                    </a:lnTo>
                    <a:lnTo>
                      <a:pt x="18" y="683"/>
                    </a:lnTo>
                    <a:lnTo>
                      <a:pt x="18" y="684"/>
                    </a:lnTo>
                    <a:cubicBezTo>
                      <a:pt x="8" y="684"/>
                      <a:pt x="0" y="692"/>
                      <a:pt x="0" y="702"/>
                    </a:cubicBezTo>
                    <a:cubicBezTo>
                      <a:pt x="0" y="712"/>
                      <a:pt x="8" y="720"/>
                      <a:pt x="18" y="720"/>
                    </a:cubicBezTo>
                    <a:lnTo>
                      <a:pt x="18" y="720"/>
                    </a:lnTo>
                    <a:lnTo>
                      <a:pt x="893" y="720"/>
                    </a:lnTo>
                    <a:lnTo>
                      <a:pt x="893" y="720"/>
                    </a:lnTo>
                    <a:cubicBezTo>
                      <a:pt x="903" y="720"/>
                      <a:pt x="912" y="712"/>
                      <a:pt x="912" y="702"/>
                    </a:cubicBezTo>
                    <a:cubicBezTo>
                      <a:pt x="912" y="692"/>
                      <a:pt x="903" y="684"/>
                      <a:pt x="893" y="684"/>
                    </a:cubicBezTo>
                    <a:lnTo>
                      <a:pt x="893" y="683"/>
                    </a:lnTo>
                    <a:lnTo>
                      <a:pt x="838" y="683"/>
                    </a:lnTo>
                    <a:lnTo>
                      <a:pt x="838" y="467"/>
                    </a:lnTo>
                    <a:lnTo>
                      <a:pt x="886" y="5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20" name="Freeform 96">
                <a:extLst>
                  <a:ext uri="{FF2B5EF4-FFF2-40B4-BE49-F238E27FC236}">
                    <a16:creationId xmlns="" xmlns:a16="http://schemas.microsoft.com/office/drawing/2014/main" id="{0B750F6E-2CA3-6176-D28B-483316D3B1CD}"/>
                  </a:ext>
                </a:extLst>
              </p:cNvPr>
              <p:cNvSpPr>
                <a:spLocks/>
              </p:cNvSpPr>
              <p:nvPr/>
            </p:nvSpPr>
            <p:spPr bwMode="auto">
              <a:xfrm>
                <a:off x="2746" y="2212"/>
                <a:ext cx="64" cy="122"/>
              </a:xfrm>
              <a:custGeom>
                <a:avLst/>
                <a:gdLst>
                  <a:gd name="T0" fmla="*/ 67 w 106"/>
                  <a:gd name="T1" fmla="*/ 90 h 200"/>
                  <a:gd name="T2" fmla="*/ 67 w 106"/>
                  <a:gd name="T3" fmla="*/ 90 h 200"/>
                  <a:gd name="T4" fmla="*/ 77 w 106"/>
                  <a:gd name="T5" fmla="*/ 30 h 200"/>
                  <a:gd name="T6" fmla="*/ 81 w 106"/>
                  <a:gd name="T7" fmla="*/ 7 h 200"/>
                  <a:gd name="T8" fmla="*/ 70 w 106"/>
                  <a:gd name="T9" fmla="*/ 0 h 200"/>
                  <a:gd name="T10" fmla="*/ 68 w 106"/>
                  <a:gd name="T11" fmla="*/ 0 h 200"/>
                  <a:gd name="T12" fmla="*/ 58 w 106"/>
                  <a:gd name="T13" fmla="*/ 3 h 200"/>
                  <a:gd name="T14" fmla="*/ 39 w 106"/>
                  <a:gd name="T15" fmla="*/ 107 h 200"/>
                  <a:gd name="T16" fmla="*/ 29 w 106"/>
                  <a:gd name="T17" fmla="*/ 168 h 200"/>
                  <a:gd name="T18" fmla="*/ 25 w 106"/>
                  <a:gd name="T19" fmla="*/ 191 h 200"/>
                  <a:gd name="T20" fmla="*/ 48 w 106"/>
                  <a:gd name="T21" fmla="*/ 195 h 200"/>
                  <a:gd name="T22" fmla="*/ 67 w 106"/>
                  <a:gd name="T23"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200">
                    <a:moveTo>
                      <a:pt x="67" y="90"/>
                    </a:moveTo>
                    <a:lnTo>
                      <a:pt x="67" y="90"/>
                    </a:lnTo>
                    <a:cubicBezTo>
                      <a:pt x="52" y="66"/>
                      <a:pt x="45" y="51"/>
                      <a:pt x="77" y="30"/>
                    </a:cubicBezTo>
                    <a:cubicBezTo>
                      <a:pt x="84" y="24"/>
                      <a:pt x="86" y="14"/>
                      <a:pt x="81" y="7"/>
                    </a:cubicBezTo>
                    <a:cubicBezTo>
                      <a:pt x="78" y="4"/>
                      <a:pt x="75" y="1"/>
                      <a:pt x="70" y="0"/>
                    </a:cubicBezTo>
                    <a:cubicBezTo>
                      <a:pt x="69" y="0"/>
                      <a:pt x="68" y="0"/>
                      <a:pt x="68" y="0"/>
                    </a:cubicBezTo>
                    <a:cubicBezTo>
                      <a:pt x="64" y="0"/>
                      <a:pt x="61" y="1"/>
                      <a:pt x="58" y="3"/>
                    </a:cubicBezTo>
                    <a:cubicBezTo>
                      <a:pt x="0" y="43"/>
                      <a:pt x="26" y="86"/>
                      <a:pt x="39" y="107"/>
                    </a:cubicBezTo>
                    <a:cubicBezTo>
                      <a:pt x="54" y="132"/>
                      <a:pt x="61" y="146"/>
                      <a:pt x="29" y="168"/>
                    </a:cubicBezTo>
                    <a:cubicBezTo>
                      <a:pt x="22" y="173"/>
                      <a:pt x="20" y="183"/>
                      <a:pt x="25" y="191"/>
                    </a:cubicBezTo>
                    <a:cubicBezTo>
                      <a:pt x="30" y="198"/>
                      <a:pt x="40" y="200"/>
                      <a:pt x="48" y="195"/>
                    </a:cubicBezTo>
                    <a:cubicBezTo>
                      <a:pt x="106" y="154"/>
                      <a:pt x="79" y="111"/>
                      <a:pt x="67"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21" name="Freeform 97">
                <a:extLst>
                  <a:ext uri="{FF2B5EF4-FFF2-40B4-BE49-F238E27FC236}">
                    <a16:creationId xmlns="" xmlns:a16="http://schemas.microsoft.com/office/drawing/2014/main" id="{945FC7BC-9DFC-5B04-1525-6046F745C4A8}"/>
                  </a:ext>
                </a:extLst>
              </p:cNvPr>
              <p:cNvSpPr>
                <a:spLocks/>
              </p:cNvSpPr>
              <p:nvPr/>
            </p:nvSpPr>
            <p:spPr bwMode="auto">
              <a:xfrm>
                <a:off x="2792" y="2212"/>
                <a:ext cx="64" cy="122"/>
              </a:xfrm>
              <a:custGeom>
                <a:avLst/>
                <a:gdLst>
                  <a:gd name="T0" fmla="*/ 48 w 106"/>
                  <a:gd name="T1" fmla="*/ 195 h 200"/>
                  <a:gd name="T2" fmla="*/ 48 w 106"/>
                  <a:gd name="T3" fmla="*/ 195 h 200"/>
                  <a:gd name="T4" fmla="*/ 67 w 106"/>
                  <a:gd name="T5" fmla="*/ 90 h 200"/>
                  <a:gd name="T6" fmla="*/ 77 w 106"/>
                  <a:gd name="T7" fmla="*/ 30 h 200"/>
                  <a:gd name="T8" fmla="*/ 84 w 106"/>
                  <a:gd name="T9" fmla="*/ 19 h 200"/>
                  <a:gd name="T10" fmla="*/ 81 w 106"/>
                  <a:gd name="T11" fmla="*/ 7 h 200"/>
                  <a:gd name="T12" fmla="*/ 71 w 106"/>
                  <a:gd name="T13" fmla="*/ 0 h 200"/>
                  <a:gd name="T14" fmla="*/ 68 w 106"/>
                  <a:gd name="T15" fmla="*/ 0 h 200"/>
                  <a:gd name="T16" fmla="*/ 59 w 106"/>
                  <a:gd name="T17" fmla="*/ 3 h 200"/>
                  <a:gd name="T18" fmla="*/ 39 w 106"/>
                  <a:gd name="T19" fmla="*/ 107 h 200"/>
                  <a:gd name="T20" fmla="*/ 30 w 106"/>
                  <a:gd name="T21" fmla="*/ 168 h 200"/>
                  <a:gd name="T22" fmla="*/ 30 w 106"/>
                  <a:gd name="T23" fmla="*/ 168 h 200"/>
                  <a:gd name="T24" fmla="*/ 23 w 106"/>
                  <a:gd name="T25" fmla="*/ 179 h 200"/>
                  <a:gd name="T26" fmla="*/ 25 w 106"/>
                  <a:gd name="T27" fmla="*/ 191 h 200"/>
                  <a:gd name="T28" fmla="*/ 48 w 106"/>
                  <a:gd name="T29" fmla="*/ 19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200">
                    <a:moveTo>
                      <a:pt x="48" y="195"/>
                    </a:moveTo>
                    <a:lnTo>
                      <a:pt x="48" y="195"/>
                    </a:lnTo>
                    <a:cubicBezTo>
                      <a:pt x="106" y="155"/>
                      <a:pt x="80" y="111"/>
                      <a:pt x="67" y="90"/>
                    </a:cubicBezTo>
                    <a:cubicBezTo>
                      <a:pt x="52" y="66"/>
                      <a:pt x="45" y="51"/>
                      <a:pt x="77" y="30"/>
                    </a:cubicBezTo>
                    <a:cubicBezTo>
                      <a:pt x="80" y="27"/>
                      <a:pt x="83" y="23"/>
                      <a:pt x="84" y="19"/>
                    </a:cubicBezTo>
                    <a:cubicBezTo>
                      <a:pt x="84" y="15"/>
                      <a:pt x="83" y="11"/>
                      <a:pt x="81" y="7"/>
                    </a:cubicBezTo>
                    <a:cubicBezTo>
                      <a:pt x="79" y="4"/>
                      <a:pt x="75" y="1"/>
                      <a:pt x="71" y="0"/>
                    </a:cubicBezTo>
                    <a:cubicBezTo>
                      <a:pt x="70" y="0"/>
                      <a:pt x="69" y="0"/>
                      <a:pt x="68" y="0"/>
                    </a:cubicBezTo>
                    <a:cubicBezTo>
                      <a:pt x="64" y="0"/>
                      <a:pt x="61" y="1"/>
                      <a:pt x="59" y="3"/>
                    </a:cubicBezTo>
                    <a:cubicBezTo>
                      <a:pt x="0" y="43"/>
                      <a:pt x="27" y="86"/>
                      <a:pt x="39" y="107"/>
                    </a:cubicBezTo>
                    <a:cubicBezTo>
                      <a:pt x="54" y="132"/>
                      <a:pt x="61" y="146"/>
                      <a:pt x="30" y="168"/>
                    </a:cubicBezTo>
                    <a:lnTo>
                      <a:pt x="30" y="168"/>
                    </a:lnTo>
                    <a:cubicBezTo>
                      <a:pt x="26" y="171"/>
                      <a:pt x="24" y="174"/>
                      <a:pt x="23" y="179"/>
                    </a:cubicBezTo>
                    <a:cubicBezTo>
                      <a:pt x="22" y="183"/>
                      <a:pt x="23" y="187"/>
                      <a:pt x="25" y="191"/>
                    </a:cubicBezTo>
                    <a:cubicBezTo>
                      <a:pt x="30" y="198"/>
                      <a:pt x="41" y="200"/>
                      <a:pt x="48" y="1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22" name="Freeform 98">
                <a:extLst>
                  <a:ext uri="{FF2B5EF4-FFF2-40B4-BE49-F238E27FC236}">
                    <a16:creationId xmlns="" xmlns:a16="http://schemas.microsoft.com/office/drawing/2014/main" id="{BB77D342-2929-E602-DBC9-FF6C21755F61}"/>
                  </a:ext>
                </a:extLst>
              </p:cNvPr>
              <p:cNvSpPr>
                <a:spLocks/>
              </p:cNvSpPr>
              <p:nvPr/>
            </p:nvSpPr>
            <p:spPr bwMode="auto">
              <a:xfrm>
                <a:off x="2592" y="2186"/>
                <a:ext cx="64" cy="122"/>
              </a:xfrm>
              <a:custGeom>
                <a:avLst/>
                <a:gdLst>
                  <a:gd name="T0" fmla="*/ 67 w 106"/>
                  <a:gd name="T1" fmla="*/ 90 h 200"/>
                  <a:gd name="T2" fmla="*/ 67 w 106"/>
                  <a:gd name="T3" fmla="*/ 90 h 200"/>
                  <a:gd name="T4" fmla="*/ 77 w 106"/>
                  <a:gd name="T5" fmla="*/ 29 h 200"/>
                  <a:gd name="T6" fmla="*/ 81 w 106"/>
                  <a:gd name="T7" fmla="*/ 7 h 200"/>
                  <a:gd name="T8" fmla="*/ 71 w 106"/>
                  <a:gd name="T9" fmla="*/ 0 h 200"/>
                  <a:gd name="T10" fmla="*/ 68 w 106"/>
                  <a:gd name="T11" fmla="*/ 0 h 200"/>
                  <a:gd name="T12" fmla="*/ 59 w 106"/>
                  <a:gd name="T13" fmla="*/ 3 h 200"/>
                  <a:gd name="T14" fmla="*/ 39 w 106"/>
                  <a:gd name="T15" fmla="*/ 107 h 200"/>
                  <a:gd name="T16" fmla="*/ 29 w 106"/>
                  <a:gd name="T17" fmla="*/ 168 h 200"/>
                  <a:gd name="T18" fmla="*/ 25 w 106"/>
                  <a:gd name="T19" fmla="*/ 191 h 200"/>
                  <a:gd name="T20" fmla="*/ 48 w 106"/>
                  <a:gd name="T21" fmla="*/ 195 h 200"/>
                  <a:gd name="T22" fmla="*/ 67 w 106"/>
                  <a:gd name="T23"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200">
                    <a:moveTo>
                      <a:pt x="67" y="90"/>
                    </a:moveTo>
                    <a:lnTo>
                      <a:pt x="67" y="90"/>
                    </a:lnTo>
                    <a:cubicBezTo>
                      <a:pt x="52" y="66"/>
                      <a:pt x="45" y="51"/>
                      <a:pt x="77" y="29"/>
                    </a:cubicBezTo>
                    <a:cubicBezTo>
                      <a:pt x="84" y="24"/>
                      <a:pt x="86" y="14"/>
                      <a:pt x="81" y="7"/>
                    </a:cubicBezTo>
                    <a:cubicBezTo>
                      <a:pt x="79" y="3"/>
                      <a:pt x="75" y="1"/>
                      <a:pt x="71" y="0"/>
                    </a:cubicBezTo>
                    <a:cubicBezTo>
                      <a:pt x="70" y="0"/>
                      <a:pt x="69" y="0"/>
                      <a:pt x="68" y="0"/>
                    </a:cubicBezTo>
                    <a:cubicBezTo>
                      <a:pt x="64" y="0"/>
                      <a:pt x="61" y="1"/>
                      <a:pt x="59" y="3"/>
                    </a:cubicBezTo>
                    <a:cubicBezTo>
                      <a:pt x="0" y="43"/>
                      <a:pt x="27" y="86"/>
                      <a:pt x="39" y="107"/>
                    </a:cubicBezTo>
                    <a:cubicBezTo>
                      <a:pt x="54" y="132"/>
                      <a:pt x="61" y="147"/>
                      <a:pt x="29" y="168"/>
                    </a:cubicBezTo>
                    <a:cubicBezTo>
                      <a:pt x="22" y="173"/>
                      <a:pt x="20" y="184"/>
                      <a:pt x="25" y="191"/>
                    </a:cubicBezTo>
                    <a:cubicBezTo>
                      <a:pt x="30" y="198"/>
                      <a:pt x="40" y="200"/>
                      <a:pt x="48" y="195"/>
                    </a:cubicBezTo>
                    <a:cubicBezTo>
                      <a:pt x="106" y="155"/>
                      <a:pt x="80" y="111"/>
                      <a:pt x="67"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23" name="Freeform 99">
                <a:extLst>
                  <a:ext uri="{FF2B5EF4-FFF2-40B4-BE49-F238E27FC236}">
                    <a16:creationId xmlns="" xmlns:a16="http://schemas.microsoft.com/office/drawing/2014/main" id="{7177D312-5658-6A2C-3A3F-23F30B4DFD4A}"/>
                  </a:ext>
                </a:extLst>
              </p:cNvPr>
              <p:cNvSpPr>
                <a:spLocks/>
              </p:cNvSpPr>
              <p:nvPr/>
            </p:nvSpPr>
            <p:spPr bwMode="auto">
              <a:xfrm>
                <a:off x="2638" y="2186"/>
                <a:ext cx="65" cy="122"/>
              </a:xfrm>
              <a:custGeom>
                <a:avLst/>
                <a:gdLst>
                  <a:gd name="T0" fmla="*/ 48 w 107"/>
                  <a:gd name="T1" fmla="*/ 195 h 200"/>
                  <a:gd name="T2" fmla="*/ 48 w 107"/>
                  <a:gd name="T3" fmla="*/ 195 h 200"/>
                  <a:gd name="T4" fmla="*/ 67 w 107"/>
                  <a:gd name="T5" fmla="*/ 90 h 200"/>
                  <a:gd name="T6" fmla="*/ 77 w 107"/>
                  <a:gd name="T7" fmla="*/ 29 h 200"/>
                  <a:gd name="T8" fmla="*/ 84 w 107"/>
                  <a:gd name="T9" fmla="*/ 19 h 200"/>
                  <a:gd name="T10" fmla="*/ 81 w 107"/>
                  <a:gd name="T11" fmla="*/ 7 h 200"/>
                  <a:gd name="T12" fmla="*/ 71 w 107"/>
                  <a:gd name="T13" fmla="*/ 0 h 200"/>
                  <a:gd name="T14" fmla="*/ 68 w 107"/>
                  <a:gd name="T15" fmla="*/ 0 h 200"/>
                  <a:gd name="T16" fmla="*/ 59 w 107"/>
                  <a:gd name="T17" fmla="*/ 3 h 200"/>
                  <a:gd name="T18" fmla="*/ 40 w 107"/>
                  <a:gd name="T19" fmla="*/ 107 h 200"/>
                  <a:gd name="T20" fmla="*/ 30 w 107"/>
                  <a:gd name="T21" fmla="*/ 168 h 200"/>
                  <a:gd name="T22" fmla="*/ 30 w 107"/>
                  <a:gd name="T23" fmla="*/ 168 h 200"/>
                  <a:gd name="T24" fmla="*/ 23 w 107"/>
                  <a:gd name="T25" fmla="*/ 179 h 200"/>
                  <a:gd name="T26" fmla="*/ 26 w 107"/>
                  <a:gd name="T27" fmla="*/ 191 h 200"/>
                  <a:gd name="T28" fmla="*/ 48 w 107"/>
                  <a:gd name="T29" fmla="*/ 19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200">
                    <a:moveTo>
                      <a:pt x="48" y="195"/>
                    </a:moveTo>
                    <a:lnTo>
                      <a:pt x="48" y="195"/>
                    </a:lnTo>
                    <a:cubicBezTo>
                      <a:pt x="107" y="155"/>
                      <a:pt x="80" y="111"/>
                      <a:pt x="67" y="90"/>
                    </a:cubicBezTo>
                    <a:cubicBezTo>
                      <a:pt x="52" y="66"/>
                      <a:pt x="45" y="51"/>
                      <a:pt x="77" y="29"/>
                    </a:cubicBezTo>
                    <a:cubicBezTo>
                      <a:pt x="81" y="27"/>
                      <a:pt x="83" y="23"/>
                      <a:pt x="84" y="19"/>
                    </a:cubicBezTo>
                    <a:cubicBezTo>
                      <a:pt x="85" y="15"/>
                      <a:pt x="84" y="10"/>
                      <a:pt x="81" y="7"/>
                    </a:cubicBezTo>
                    <a:cubicBezTo>
                      <a:pt x="79" y="3"/>
                      <a:pt x="75" y="1"/>
                      <a:pt x="71" y="0"/>
                    </a:cubicBezTo>
                    <a:cubicBezTo>
                      <a:pt x="70" y="0"/>
                      <a:pt x="69" y="0"/>
                      <a:pt x="68" y="0"/>
                    </a:cubicBezTo>
                    <a:cubicBezTo>
                      <a:pt x="65" y="0"/>
                      <a:pt x="62" y="1"/>
                      <a:pt x="59" y="3"/>
                    </a:cubicBezTo>
                    <a:cubicBezTo>
                      <a:pt x="0" y="43"/>
                      <a:pt x="27" y="86"/>
                      <a:pt x="40" y="107"/>
                    </a:cubicBezTo>
                    <a:cubicBezTo>
                      <a:pt x="55" y="132"/>
                      <a:pt x="62" y="147"/>
                      <a:pt x="30" y="168"/>
                    </a:cubicBezTo>
                    <a:lnTo>
                      <a:pt x="30" y="168"/>
                    </a:lnTo>
                    <a:cubicBezTo>
                      <a:pt x="26" y="171"/>
                      <a:pt x="24" y="175"/>
                      <a:pt x="23" y="179"/>
                    </a:cubicBezTo>
                    <a:cubicBezTo>
                      <a:pt x="22" y="183"/>
                      <a:pt x="23" y="187"/>
                      <a:pt x="26" y="191"/>
                    </a:cubicBezTo>
                    <a:cubicBezTo>
                      <a:pt x="30" y="198"/>
                      <a:pt x="41" y="200"/>
                      <a:pt x="48" y="1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grpSp>
        <p:sp>
          <p:nvSpPr>
            <p:cNvPr id="14" name="Rectángulo 13"/>
            <p:cNvSpPr/>
            <p:nvPr/>
          </p:nvSpPr>
          <p:spPr>
            <a:xfrm>
              <a:off x="1695505" y="5201114"/>
              <a:ext cx="2688260"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Comité Paritario de higiene y Seguridad </a:t>
              </a:r>
              <a:r>
                <a:rPr kumimoji="0" lang="es-MX" sz="1200" b="0" i="0" u="none" strike="noStrike" kern="0" cap="none" spc="0" normalizeH="0" baseline="0" noProof="0" dirty="0">
                  <a:ln>
                    <a:noFill/>
                  </a:ln>
                  <a:solidFill>
                    <a:srgbClr val="000000"/>
                  </a:solidFill>
                  <a:effectLst/>
                  <a:uLnTx/>
                  <a:uFillTx/>
                  <a:latin typeface="ACHS Nueva Sans" pitchFamily="2" charset="0"/>
                </a:rPr>
                <a:t>en lugares de trabajo con más de 25 personas trabajadoras</a:t>
              </a:r>
            </a:p>
          </p:txBody>
        </p:sp>
        <p:sp>
          <p:nvSpPr>
            <p:cNvPr id="15" name="Marcador de texto 2">
              <a:extLst>
                <a:ext uri="{FF2B5EF4-FFF2-40B4-BE49-F238E27FC236}">
                  <a16:creationId xmlns="" xmlns:a16="http://schemas.microsoft.com/office/drawing/2014/main" id="{328429E5-D53C-3CD2-A2F0-CE417551744C}"/>
                </a:ext>
              </a:extLst>
            </p:cNvPr>
            <p:cNvSpPr txBox="1">
              <a:spLocks/>
            </p:cNvSpPr>
            <p:nvPr/>
          </p:nvSpPr>
          <p:spPr>
            <a:xfrm>
              <a:off x="2539540" y="4875340"/>
              <a:ext cx="190014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13C045"/>
                  </a:solidFill>
                  <a:effectLst/>
                  <a:uLnTx/>
                  <a:uFillTx/>
                  <a:latin typeface="ACHS Nueva Sans" pitchFamily="2" charset="0"/>
                  <a:sym typeface="Arial"/>
                </a:rPr>
                <a:t>Centro de trabajo</a:t>
              </a:r>
            </a:p>
          </p:txBody>
        </p:sp>
      </p:grpSp>
      <p:grpSp>
        <p:nvGrpSpPr>
          <p:cNvPr id="24" name="Grupo 23"/>
          <p:cNvGrpSpPr/>
          <p:nvPr/>
        </p:nvGrpSpPr>
        <p:grpSpPr>
          <a:xfrm>
            <a:off x="2091590" y="3560143"/>
            <a:ext cx="3002209" cy="1237150"/>
            <a:chOff x="4950081" y="4517961"/>
            <a:chExt cx="3002209" cy="1237150"/>
          </a:xfrm>
        </p:grpSpPr>
        <p:grpSp>
          <p:nvGrpSpPr>
            <p:cNvPr id="25" name="Group 49">
              <a:extLst>
                <a:ext uri="{FF2B5EF4-FFF2-40B4-BE49-F238E27FC236}">
                  <a16:creationId xmlns="" xmlns:a16="http://schemas.microsoft.com/office/drawing/2014/main" id="{08D3BEA5-C08B-49AB-3BA7-587282D926F4}"/>
                </a:ext>
              </a:extLst>
            </p:cNvPr>
            <p:cNvGrpSpPr>
              <a:grpSpLocks noChangeAspect="1"/>
            </p:cNvGrpSpPr>
            <p:nvPr/>
          </p:nvGrpSpPr>
          <p:grpSpPr bwMode="auto">
            <a:xfrm>
              <a:off x="4983542" y="4517961"/>
              <a:ext cx="700899" cy="572823"/>
              <a:chOff x="4164" y="1327"/>
              <a:chExt cx="498" cy="407"/>
            </a:xfrm>
            <a:solidFill>
              <a:srgbClr val="13C045"/>
            </a:solidFill>
          </p:grpSpPr>
          <p:sp>
            <p:nvSpPr>
              <p:cNvPr id="28" name="Freeform 50">
                <a:extLst>
                  <a:ext uri="{FF2B5EF4-FFF2-40B4-BE49-F238E27FC236}">
                    <a16:creationId xmlns="" xmlns:a16="http://schemas.microsoft.com/office/drawing/2014/main" id="{EE44B439-F2BE-1644-319B-C1E8D1BFE655}"/>
                  </a:ext>
                </a:extLst>
              </p:cNvPr>
              <p:cNvSpPr>
                <a:spLocks noEditPoints="1"/>
              </p:cNvSpPr>
              <p:nvPr/>
            </p:nvSpPr>
            <p:spPr bwMode="auto">
              <a:xfrm>
                <a:off x="4255" y="1578"/>
                <a:ext cx="87" cy="87"/>
              </a:xfrm>
              <a:custGeom>
                <a:avLst/>
                <a:gdLst>
                  <a:gd name="T0" fmla="*/ 112 w 143"/>
                  <a:gd name="T1" fmla="*/ 112 h 143"/>
                  <a:gd name="T2" fmla="*/ 112 w 143"/>
                  <a:gd name="T3" fmla="*/ 112 h 143"/>
                  <a:gd name="T4" fmla="*/ 32 w 143"/>
                  <a:gd name="T5" fmla="*/ 112 h 143"/>
                  <a:gd name="T6" fmla="*/ 32 w 143"/>
                  <a:gd name="T7" fmla="*/ 31 h 143"/>
                  <a:gd name="T8" fmla="*/ 112 w 143"/>
                  <a:gd name="T9" fmla="*/ 31 h 143"/>
                  <a:gd name="T10" fmla="*/ 112 w 143"/>
                  <a:gd name="T11" fmla="*/ 112 h 143"/>
                  <a:gd name="T12" fmla="*/ 143 w 143"/>
                  <a:gd name="T13" fmla="*/ 16 h 143"/>
                  <a:gd name="T14" fmla="*/ 143 w 143"/>
                  <a:gd name="T15" fmla="*/ 16 h 143"/>
                  <a:gd name="T16" fmla="*/ 127 w 143"/>
                  <a:gd name="T17" fmla="*/ 0 h 143"/>
                  <a:gd name="T18" fmla="*/ 16 w 143"/>
                  <a:gd name="T19" fmla="*/ 0 h 143"/>
                  <a:gd name="T20" fmla="*/ 0 w 143"/>
                  <a:gd name="T21" fmla="*/ 16 h 143"/>
                  <a:gd name="T22" fmla="*/ 0 w 143"/>
                  <a:gd name="T23" fmla="*/ 127 h 143"/>
                  <a:gd name="T24" fmla="*/ 16 w 143"/>
                  <a:gd name="T25" fmla="*/ 143 h 143"/>
                  <a:gd name="T26" fmla="*/ 127 w 143"/>
                  <a:gd name="T27" fmla="*/ 143 h 143"/>
                  <a:gd name="T28" fmla="*/ 143 w 143"/>
                  <a:gd name="T29" fmla="*/ 127 h 143"/>
                  <a:gd name="T30" fmla="*/ 143 w 143"/>
                  <a:gd name="T31" fmla="*/ 1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3" h="143">
                    <a:moveTo>
                      <a:pt x="112" y="112"/>
                    </a:moveTo>
                    <a:lnTo>
                      <a:pt x="112" y="112"/>
                    </a:lnTo>
                    <a:lnTo>
                      <a:pt x="32" y="112"/>
                    </a:lnTo>
                    <a:lnTo>
                      <a:pt x="32" y="31"/>
                    </a:lnTo>
                    <a:lnTo>
                      <a:pt x="112" y="31"/>
                    </a:lnTo>
                    <a:lnTo>
                      <a:pt x="112" y="112"/>
                    </a:lnTo>
                    <a:close/>
                    <a:moveTo>
                      <a:pt x="143" y="16"/>
                    </a:moveTo>
                    <a:lnTo>
                      <a:pt x="143" y="16"/>
                    </a:lnTo>
                    <a:cubicBezTo>
                      <a:pt x="143" y="7"/>
                      <a:pt x="136" y="0"/>
                      <a:pt x="127" y="0"/>
                    </a:cubicBezTo>
                    <a:lnTo>
                      <a:pt x="16" y="0"/>
                    </a:lnTo>
                    <a:cubicBezTo>
                      <a:pt x="7" y="0"/>
                      <a:pt x="0" y="7"/>
                      <a:pt x="0" y="16"/>
                    </a:cubicBezTo>
                    <a:lnTo>
                      <a:pt x="0" y="127"/>
                    </a:lnTo>
                    <a:cubicBezTo>
                      <a:pt x="0" y="136"/>
                      <a:pt x="7" y="143"/>
                      <a:pt x="16" y="143"/>
                    </a:cubicBezTo>
                    <a:lnTo>
                      <a:pt x="127" y="143"/>
                    </a:lnTo>
                    <a:cubicBezTo>
                      <a:pt x="136" y="143"/>
                      <a:pt x="143" y="136"/>
                      <a:pt x="143" y="127"/>
                    </a:cubicBezTo>
                    <a:lnTo>
                      <a:pt x="143" y="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29" name="Freeform 51">
                <a:extLst>
                  <a:ext uri="{FF2B5EF4-FFF2-40B4-BE49-F238E27FC236}">
                    <a16:creationId xmlns="" xmlns:a16="http://schemas.microsoft.com/office/drawing/2014/main" id="{93B9B815-C69B-FFDD-C492-C648CB5B3451}"/>
                  </a:ext>
                </a:extLst>
              </p:cNvPr>
              <p:cNvSpPr>
                <a:spLocks noEditPoints="1"/>
              </p:cNvSpPr>
              <p:nvPr/>
            </p:nvSpPr>
            <p:spPr bwMode="auto">
              <a:xfrm>
                <a:off x="4483" y="1578"/>
                <a:ext cx="87" cy="87"/>
              </a:xfrm>
              <a:custGeom>
                <a:avLst/>
                <a:gdLst>
                  <a:gd name="T0" fmla="*/ 112 w 143"/>
                  <a:gd name="T1" fmla="*/ 112 h 143"/>
                  <a:gd name="T2" fmla="*/ 112 w 143"/>
                  <a:gd name="T3" fmla="*/ 112 h 143"/>
                  <a:gd name="T4" fmla="*/ 31 w 143"/>
                  <a:gd name="T5" fmla="*/ 112 h 143"/>
                  <a:gd name="T6" fmla="*/ 31 w 143"/>
                  <a:gd name="T7" fmla="*/ 31 h 143"/>
                  <a:gd name="T8" fmla="*/ 112 w 143"/>
                  <a:gd name="T9" fmla="*/ 31 h 143"/>
                  <a:gd name="T10" fmla="*/ 112 w 143"/>
                  <a:gd name="T11" fmla="*/ 112 h 143"/>
                  <a:gd name="T12" fmla="*/ 127 w 143"/>
                  <a:gd name="T13" fmla="*/ 0 h 143"/>
                  <a:gd name="T14" fmla="*/ 127 w 143"/>
                  <a:gd name="T15" fmla="*/ 0 h 143"/>
                  <a:gd name="T16" fmla="*/ 16 w 143"/>
                  <a:gd name="T17" fmla="*/ 0 h 143"/>
                  <a:gd name="T18" fmla="*/ 0 w 143"/>
                  <a:gd name="T19" fmla="*/ 16 h 143"/>
                  <a:gd name="T20" fmla="*/ 0 w 143"/>
                  <a:gd name="T21" fmla="*/ 127 h 143"/>
                  <a:gd name="T22" fmla="*/ 16 w 143"/>
                  <a:gd name="T23" fmla="*/ 143 h 143"/>
                  <a:gd name="T24" fmla="*/ 127 w 143"/>
                  <a:gd name="T25" fmla="*/ 143 h 143"/>
                  <a:gd name="T26" fmla="*/ 143 w 143"/>
                  <a:gd name="T27" fmla="*/ 127 h 143"/>
                  <a:gd name="T28" fmla="*/ 143 w 143"/>
                  <a:gd name="T29" fmla="*/ 16 h 143"/>
                  <a:gd name="T30" fmla="*/ 127 w 143"/>
                  <a:gd name="T3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3" h="143">
                    <a:moveTo>
                      <a:pt x="112" y="112"/>
                    </a:moveTo>
                    <a:lnTo>
                      <a:pt x="112" y="112"/>
                    </a:lnTo>
                    <a:lnTo>
                      <a:pt x="31" y="112"/>
                    </a:lnTo>
                    <a:lnTo>
                      <a:pt x="31" y="31"/>
                    </a:lnTo>
                    <a:lnTo>
                      <a:pt x="112" y="31"/>
                    </a:lnTo>
                    <a:lnTo>
                      <a:pt x="112" y="112"/>
                    </a:lnTo>
                    <a:close/>
                    <a:moveTo>
                      <a:pt x="127" y="0"/>
                    </a:moveTo>
                    <a:lnTo>
                      <a:pt x="127" y="0"/>
                    </a:lnTo>
                    <a:lnTo>
                      <a:pt x="16" y="0"/>
                    </a:lnTo>
                    <a:cubicBezTo>
                      <a:pt x="7" y="0"/>
                      <a:pt x="0" y="7"/>
                      <a:pt x="0" y="16"/>
                    </a:cubicBezTo>
                    <a:lnTo>
                      <a:pt x="0" y="127"/>
                    </a:lnTo>
                    <a:cubicBezTo>
                      <a:pt x="0" y="136"/>
                      <a:pt x="7" y="143"/>
                      <a:pt x="16" y="143"/>
                    </a:cubicBezTo>
                    <a:lnTo>
                      <a:pt x="127" y="143"/>
                    </a:lnTo>
                    <a:cubicBezTo>
                      <a:pt x="136" y="143"/>
                      <a:pt x="143" y="136"/>
                      <a:pt x="143" y="127"/>
                    </a:cubicBezTo>
                    <a:lnTo>
                      <a:pt x="143" y="16"/>
                    </a:lnTo>
                    <a:cubicBezTo>
                      <a:pt x="143" y="7"/>
                      <a:pt x="136" y="0"/>
                      <a:pt x="1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30" name="Freeform 52">
                <a:extLst>
                  <a:ext uri="{FF2B5EF4-FFF2-40B4-BE49-F238E27FC236}">
                    <a16:creationId xmlns="" xmlns:a16="http://schemas.microsoft.com/office/drawing/2014/main" id="{470083B8-FE19-D1B0-EEA0-4BC6CDB8098A}"/>
                  </a:ext>
                </a:extLst>
              </p:cNvPr>
              <p:cNvSpPr>
                <a:spLocks noEditPoints="1"/>
              </p:cNvSpPr>
              <p:nvPr/>
            </p:nvSpPr>
            <p:spPr bwMode="auto">
              <a:xfrm>
                <a:off x="4164" y="1327"/>
                <a:ext cx="498" cy="407"/>
              </a:xfrm>
              <a:custGeom>
                <a:avLst/>
                <a:gdLst>
                  <a:gd name="T0" fmla="*/ 68 w 812"/>
                  <a:gd name="T1" fmla="*/ 142 h 663"/>
                  <a:gd name="T2" fmla="*/ 68 w 812"/>
                  <a:gd name="T3" fmla="*/ 142 h 663"/>
                  <a:gd name="T4" fmla="*/ 743 w 812"/>
                  <a:gd name="T5" fmla="*/ 142 h 663"/>
                  <a:gd name="T6" fmla="*/ 743 w 812"/>
                  <a:gd name="T7" fmla="*/ 631 h 663"/>
                  <a:gd name="T8" fmla="*/ 477 w 812"/>
                  <a:gd name="T9" fmla="*/ 631 h 663"/>
                  <a:gd name="T10" fmla="*/ 477 w 812"/>
                  <a:gd name="T11" fmla="*/ 424 h 663"/>
                  <a:gd name="T12" fmla="*/ 461 w 812"/>
                  <a:gd name="T13" fmla="*/ 408 h 663"/>
                  <a:gd name="T14" fmla="*/ 350 w 812"/>
                  <a:gd name="T15" fmla="*/ 408 h 663"/>
                  <a:gd name="T16" fmla="*/ 334 w 812"/>
                  <a:gd name="T17" fmla="*/ 424 h 663"/>
                  <a:gd name="T18" fmla="*/ 334 w 812"/>
                  <a:gd name="T19" fmla="*/ 631 h 663"/>
                  <a:gd name="T20" fmla="*/ 68 w 812"/>
                  <a:gd name="T21" fmla="*/ 631 h 663"/>
                  <a:gd name="T22" fmla="*/ 68 w 812"/>
                  <a:gd name="T23" fmla="*/ 142 h 663"/>
                  <a:gd name="T24" fmla="*/ 68 w 812"/>
                  <a:gd name="T25" fmla="*/ 30 h 663"/>
                  <a:gd name="T26" fmla="*/ 68 w 812"/>
                  <a:gd name="T27" fmla="*/ 30 h 663"/>
                  <a:gd name="T28" fmla="*/ 743 w 812"/>
                  <a:gd name="T29" fmla="*/ 30 h 663"/>
                  <a:gd name="T30" fmla="*/ 743 w 812"/>
                  <a:gd name="T31" fmla="*/ 111 h 663"/>
                  <a:gd name="T32" fmla="*/ 68 w 812"/>
                  <a:gd name="T33" fmla="*/ 111 h 663"/>
                  <a:gd name="T34" fmla="*/ 68 w 812"/>
                  <a:gd name="T35" fmla="*/ 30 h 663"/>
                  <a:gd name="T36" fmla="*/ 446 w 812"/>
                  <a:gd name="T37" fmla="*/ 631 h 663"/>
                  <a:gd name="T38" fmla="*/ 446 w 812"/>
                  <a:gd name="T39" fmla="*/ 631 h 663"/>
                  <a:gd name="T40" fmla="*/ 365 w 812"/>
                  <a:gd name="T41" fmla="*/ 631 h 663"/>
                  <a:gd name="T42" fmla="*/ 365 w 812"/>
                  <a:gd name="T43" fmla="*/ 439 h 663"/>
                  <a:gd name="T44" fmla="*/ 446 w 812"/>
                  <a:gd name="T45" fmla="*/ 439 h 663"/>
                  <a:gd name="T46" fmla="*/ 446 w 812"/>
                  <a:gd name="T47" fmla="*/ 631 h 663"/>
                  <a:gd name="T48" fmla="*/ 15 w 812"/>
                  <a:gd name="T49" fmla="*/ 663 h 663"/>
                  <a:gd name="T50" fmla="*/ 15 w 812"/>
                  <a:gd name="T51" fmla="*/ 663 h 663"/>
                  <a:gd name="T52" fmla="*/ 796 w 812"/>
                  <a:gd name="T53" fmla="*/ 663 h 663"/>
                  <a:gd name="T54" fmla="*/ 812 w 812"/>
                  <a:gd name="T55" fmla="*/ 647 h 663"/>
                  <a:gd name="T56" fmla="*/ 796 w 812"/>
                  <a:gd name="T57" fmla="*/ 631 h 663"/>
                  <a:gd name="T58" fmla="*/ 775 w 812"/>
                  <a:gd name="T59" fmla="*/ 631 h 663"/>
                  <a:gd name="T60" fmla="*/ 775 w 812"/>
                  <a:gd name="T61" fmla="*/ 142 h 663"/>
                  <a:gd name="T62" fmla="*/ 796 w 812"/>
                  <a:gd name="T63" fmla="*/ 142 h 663"/>
                  <a:gd name="T64" fmla="*/ 812 w 812"/>
                  <a:gd name="T65" fmla="*/ 126 h 663"/>
                  <a:gd name="T66" fmla="*/ 796 w 812"/>
                  <a:gd name="T67" fmla="*/ 111 h 663"/>
                  <a:gd name="T68" fmla="*/ 775 w 812"/>
                  <a:gd name="T69" fmla="*/ 111 h 663"/>
                  <a:gd name="T70" fmla="*/ 775 w 812"/>
                  <a:gd name="T71" fmla="*/ 33 h 663"/>
                  <a:gd name="T72" fmla="*/ 740 w 812"/>
                  <a:gd name="T73" fmla="*/ 0 h 663"/>
                  <a:gd name="T74" fmla="*/ 71 w 812"/>
                  <a:gd name="T75" fmla="*/ 0 h 663"/>
                  <a:gd name="T76" fmla="*/ 37 w 812"/>
                  <a:gd name="T77" fmla="*/ 33 h 663"/>
                  <a:gd name="T78" fmla="*/ 37 w 812"/>
                  <a:gd name="T79" fmla="*/ 111 h 663"/>
                  <a:gd name="T80" fmla="*/ 15 w 812"/>
                  <a:gd name="T81" fmla="*/ 111 h 663"/>
                  <a:gd name="T82" fmla="*/ 0 w 812"/>
                  <a:gd name="T83" fmla="*/ 126 h 663"/>
                  <a:gd name="T84" fmla="*/ 15 w 812"/>
                  <a:gd name="T85" fmla="*/ 142 h 663"/>
                  <a:gd name="T86" fmla="*/ 37 w 812"/>
                  <a:gd name="T87" fmla="*/ 142 h 663"/>
                  <a:gd name="T88" fmla="*/ 37 w 812"/>
                  <a:gd name="T89" fmla="*/ 631 h 663"/>
                  <a:gd name="T90" fmla="*/ 15 w 812"/>
                  <a:gd name="T91" fmla="*/ 631 h 663"/>
                  <a:gd name="T92" fmla="*/ 0 w 812"/>
                  <a:gd name="T93" fmla="*/ 647 h 663"/>
                  <a:gd name="T94" fmla="*/ 15 w 812"/>
                  <a:gd name="T95"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12" h="663">
                    <a:moveTo>
                      <a:pt x="68" y="142"/>
                    </a:moveTo>
                    <a:lnTo>
                      <a:pt x="68" y="142"/>
                    </a:lnTo>
                    <a:lnTo>
                      <a:pt x="743" y="142"/>
                    </a:lnTo>
                    <a:lnTo>
                      <a:pt x="743" y="631"/>
                    </a:lnTo>
                    <a:lnTo>
                      <a:pt x="477" y="631"/>
                    </a:lnTo>
                    <a:lnTo>
                      <a:pt x="477" y="424"/>
                    </a:lnTo>
                    <a:cubicBezTo>
                      <a:pt x="477" y="415"/>
                      <a:pt x="470" y="408"/>
                      <a:pt x="461" y="408"/>
                    </a:cubicBezTo>
                    <a:lnTo>
                      <a:pt x="350" y="408"/>
                    </a:lnTo>
                    <a:cubicBezTo>
                      <a:pt x="341" y="408"/>
                      <a:pt x="334" y="415"/>
                      <a:pt x="334" y="424"/>
                    </a:cubicBezTo>
                    <a:lnTo>
                      <a:pt x="334" y="631"/>
                    </a:lnTo>
                    <a:lnTo>
                      <a:pt x="68" y="631"/>
                    </a:lnTo>
                    <a:lnTo>
                      <a:pt x="68" y="142"/>
                    </a:lnTo>
                    <a:close/>
                    <a:moveTo>
                      <a:pt x="68" y="30"/>
                    </a:moveTo>
                    <a:lnTo>
                      <a:pt x="68" y="30"/>
                    </a:lnTo>
                    <a:lnTo>
                      <a:pt x="743" y="30"/>
                    </a:lnTo>
                    <a:lnTo>
                      <a:pt x="743" y="111"/>
                    </a:lnTo>
                    <a:lnTo>
                      <a:pt x="68" y="111"/>
                    </a:lnTo>
                    <a:lnTo>
                      <a:pt x="68" y="30"/>
                    </a:lnTo>
                    <a:close/>
                    <a:moveTo>
                      <a:pt x="446" y="631"/>
                    </a:moveTo>
                    <a:lnTo>
                      <a:pt x="446" y="631"/>
                    </a:lnTo>
                    <a:lnTo>
                      <a:pt x="365" y="631"/>
                    </a:lnTo>
                    <a:lnTo>
                      <a:pt x="365" y="439"/>
                    </a:lnTo>
                    <a:lnTo>
                      <a:pt x="446" y="439"/>
                    </a:lnTo>
                    <a:lnTo>
                      <a:pt x="446" y="631"/>
                    </a:lnTo>
                    <a:close/>
                    <a:moveTo>
                      <a:pt x="15" y="663"/>
                    </a:moveTo>
                    <a:lnTo>
                      <a:pt x="15" y="663"/>
                    </a:lnTo>
                    <a:lnTo>
                      <a:pt x="796" y="663"/>
                    </a:lnTo>
                    <a:cubicBezTo>
                      <a:pt x="805" y="663"/>
                      <a:pt x="812" y="655"/>
                      <a:pt x="812" y="647"/>
                    </a:cubicBezTo>
                    <a:cubicBezTo>
                      <a:pt x="812" y="638"/>
                      <a:pt x="805" y="631"/>
                      <a:pt x="796" y="631"/>
                    </a:cubicBezTo>
                    <a:lnTo>
                      <a:pt x="775" y="631"/>
                    </a:lnTo>
                    <a:lnTo>
                      <a:pt x="775" y="142"/>
                    </a:lnTo>
                    <a:lnTo>
                      <a:pt x="796" y="142"/>
                    </a:lnTo>
                    <a:cubicBezTo>
                      <a:pt x="805" y="142"/>
                      <a:pt x="812" y="135"/>
                      <a:pt x="812" y="126"/>
                    </a:cubicBezTo>
                    <a:cubicBezTo>
                      <a:pt x="812" y="118"/>
                      <a:pt x="805" y="111"/>
                      <a:pt x="796" y="111"/>
                    </a:cubicBezTo>
                    <a:lnTo>
                      <a:pt x="775" y="111"/>
                    </a:lnTo>
                    <a:lnTo>
                      <a:pt x="775" y="33"/>
                    </a:lnTo>
                    <a:cubicBezTo>
                      <a:pt x="775" y="14"/>
                      <a:pt x="759" y="0"/>
                      <a:pt x="740" y="0"/>
                    </a:cubicBezTo>
                    <a:lnTo>
                      <a:pt x="71" y="0"/>
                    </a:lnTo>
                    <a:cubicBezTo>
                      <a:pt x="52" y="0"/>
                      <a:pt x="37" y="14"/>
                      <a:pt x="37" y="33"/>
                    </a:cubicBezTo>
                    <a:lnTo>
                      <a:pt x="37" y="111"/>
                    </a:lnTo>
                    <a:lnTo>
                      <a:pt x="15" y="111"/>
                    </a:lnTo>
                    <a:cubicBezTo>
                      <a:pt x="7" y="111"/>
                      <a:pt x="0" y="118"/>
                      <a:pt x="0" y="126"/>
                    </a:cubicBezTo>
                    <a:cubicBezTo>
                      <a:pt x="0" y="135"/>
                      <a:pt x="7" y="142"/>
                      <a:pt x="15" y="142"/>
                    </a:cubicBezTo>
                    <a:lnTo>
                      <a:pt x="37" y="142"/>
                    </a:lnTo>
                    <a:lnTo>
                      <a:pt x="37" y="631"/>
                    </a:lnTo>
                    <a:lnTo>
                      <a:pt x="15" y="631"/>
                    </a:lnTo>
                    <a:cubicBezTo>
                      <a:pt x="7" y="631"/>
                      <a:pt x="0" y="638"/>
                      <a:pt x="0" y="647"/>
                    </a:cubicBezTo>
                    <a:cubicBezTo>
                      <a:pt x="0" y="655"/>
                      <a:pt x="7" y="663"/>
                      <a:pt x="15" y="6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grpSp>
        <p:sp>
          <p:nvSpPr>
            <p:cNvPr id="26" name="Rectángulo 25"/>
            <p:cNvSpPr/>
            <p:nvPr/>
          </p:nvSpPr>
          <p:spPr>
            <a:xfrm>
              <a:off x="4950081" y="5293446"/>
              <a:ext cx="3002209"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Delegado de SST </a:t>
              </a:r>
              <a:r>
                <a:rPr kumimoji="0" lang="es-MX" sz="1200" b="0" i="0" u="none" strike="noStrike" kern="0" cap="none" spc="0" normalizeH="0" baseline="0" noProof="0" dirty="0">
                  <a:ln>
                    <a:noFill/>
                  </a:ln>
                  <a:solidFill>
                    <a:srgbClr val="000000"/>
                  </a:solidFill>
                  <a:effectLst/>
                  <a:uLnTx/>
                  <a:uFillTx/>
                  <a:latin typeface="ACHS Nueva Sans" pitchFamily="2" charset="0"/>
                </a:rPr>
                <a:t>en lugares de trabajo entre 10 y 25 personas trabajadoras</a:t>
              </a:r>
            </a:p>
          </p:txBody>
        </p:sp>
        <p:sp>
          <p:nvSpPr>
            <p:cNvPr id="27" name="Marcador de texto 2">
              <a:extLst>
                <a:ext uri="{FF2B5EF4-FFF2-40B4-BE49-F238E27FC236}">
                  <a16:creationId xmlns="" xmlns:a16="http://schemas.microsoft.com/office/drawing/2014/main" id="{328429E5-D53C-3CD2-A2F0-CE417551744C}"/>
                </a:ext>
              </a:extLst>
            </p:cNvPr>
            <p:cNvSpPr txBox="1">
              <a:spLocks/>
            </p:cNvSpPr>
            <p:nvPr/>
          </p:nvSpPr>
          <p:spPr>
            <a:xfrm>
              <a:off x="5882888" y="4885949"/>
              <a:ext cx="190014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13C045"/>
                  </a:solidFill>
                  <a:effectLst/>
                  <a:uLnTx/>
                  <a:uFillTx/>
                  <a:latin typeface="ACHS Nueva Sans" pitchFamily="2" charset="0"/>
                  <a:sym typeface="Arial"/>
                </a:rPr>
                <a:t>Centro de trabajo</a:t>
              </a:r>
            </a:p>
          </p:txBody>
        </p:sp>
      </p:grpSp>
      <p:grpSp>
        <p:nvGrpSpPr>
          <p:cNvPr id="31" name="Grupo 30"/>
          <p:cNvGrpSpPr/>
          <p:nvPr/>
        </p:nvGrpSpPr>
        <p:grpSpPr>
          <a:xfrm>
            <a:off x="1486435" y="2250743"/>
            <a:ext cx="5009302" cy="1024915"/>
            <a:chOff x="1486435" y="2250743"/>
            <a:chExt cx="5009302" cy="1024915"/>
          </a:xfrm>
        </p:grpSpPr>
        <p:sp>
          <p:nvSpPr>
            <p:cNvPr id="32" name="Elipse 31"/>
            <p:cNvSpPr/>
            <p:nvPr/>
          </p:nvSpPr>
          <p:spPr>
            <a:xfrm>
              <a:off x="1486435" y="2250743"/>
              <a:ext cx="540000" cy="540000"/>
            </a:xfrm>
            <a:prstGeom prst="ellipse">
              <a:avLst/>
            </a:prstGeom>
            <a:solidFill>
              <a:srgbClr val="004C14"/>
            </a:solidFill>
            <a:ln w="12700" cap="flat" cmpd="sng" algn="ctr">
              <a:solidFill>
                <a:srgbClr val="004C14"/>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sp>
          <p:nvSpPr>
            <p:cNvPr id="33" name="Rectángulo 32"/>
            <p:cNvSpPr/>
            <p:nvPr/>
          </p:nvSpPr>
          <p:spPr>
            <a:xfrm>
              <a:off x="2102085" y="2629327"/>
              <a:ext cx="4393652"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Encargado de la prevención de riesgos laborales </a:t>
              </a:r>
              <a:r>
                <a:rPr kumimoji="0" lang="es-MX" sz="1200" b="0" i="0" u="none" strike="noStrike" kern="0" cap="none" spc="0" normalizeH="0" baseline="0" noProof="0" dirty="0">
                  <a:ln>
                    <a:noFill/>
                  </a:ln>
                  <a:solidFill>
                    <a:srgbClr val="000000"/>
                  </a:solidFill>
                  <a:effectLst/>
                  <a:uLnTx/>
                  <a:uFillTx/>
                  <a:latin typeface="ACHS Nueva Sans" pitchFamily="2" charset="0"/>
                </a:rPr>
                <a:t>para entidades empleadoras de hasta 100 personas trabajadoras</a:t>
              </a:r>
            </a:p>
          </p:txBody>
        </p:sp>
        <p:sp>
          <p:nvSpPr>
            <p:cNvPr id="34" name="Freeform 5">
              <a:extLst>
                <a:ext uri="{FF2B5EF4-FFF2-40B4-BE49-F238E27FC236}">
                  <a16:creationId xmlns="" xmlns:a16="http://schemas.microsoft.com/office/drawing/2014/main" id="{AADBDC32-2421-6CBD-A21E-6E859293A5AE}"/>
                </a:ext>
              </a:extLst>
            </p:cNvPr>
            <p:cNvSpPr>
              <a:spLocks noEditPoints="1"/>
            </p:cNvSpPr>
            <p:nvPr/>
          </p:nvSpPr>
          <p:spPr bwMode="auto">
            <a:xfrm>
              <a:off x="1578513" y="2342272"/>
              <a:ext cx="347895" cy="310046"/>
            </a:xfrm>
            <a:custGeom>
              <a:avLst/>
              <a:gdLst>
                <a:gd name="T0" fmla="*/ 30 w 750"/>
                <a:gd name="T1" fmla="*/ 702 h 819"/>
                <a:gd name="T2" fmla="*/ 228 w 750"/>
                <a:gd name="T3" fmla="*/ 454 h 819"/>
                <a:gd name="T4" fmla="*/ 364 w 750"/>
                <a:gd name="T5" fmla="*/ 582 h 819"/>
                <a:gd name="T6" fmla="*/ 514 w 750"/>
                <a:gd name="T7" fmla="*/ 453 h 819"/>
                <a:gd name="T8" fmla="*/ 719 w 750"/>
                <a:gd name="T9" fmla="*/ 679 h 819"/>
                <a:gd name="T10" fmla="*/ 30 w 750"/>
                <a:gd name="T11" fmla="*/ 789 h 819"/>
                <a:gd name="T12" fmla="*/ 472 w 750"/>
                <a:gd name="T13" fmla="*/ 452 h 819"/>
                <a:gd name="T14" fmla="*/ 375 w 750"/>
                <a:gd name="T15" fmla="*/ 549 h 819"/>
                <a:gd name="T16" fmla="*/ 472 w 750"/>
                <a:gd name="T17" fmla="*/ 452 h 819"/>
                <a:gd name="T18" fmla="*/ 232 w 750"/>
                <a:gd name="T19" fmla="*/ 279 h 819"/>
                <a:gd name="T20" fmla="*/ 442 w 750"/>
                <a:gd name="T21" fmla="*/ 219 h 819"/>
                <a:gd name="T22" fmla="*/ 518 w 750"/>
                <a:gd name="T23" fmla="*/ 191 h 819"/>
                <a:gd name="T24" fmla="*/ 375 w 750"/>
                <a:gd name="T25" fmla="*/ 422 h 819"/>
                <a:gd name="T26" fmla="*/ 232 w 750"/>
                <a:gd name="T27" fmla="*/ 135 h 819"/>
                <a:gd name="T28" fmla="*/ 337 w 750"/>
                <a:gd name="T29" fmla="*/ 30 h 819"/>
                <a:gd name="T30" fmla="*/ 518 w 750"/>
                <a:gd name="T31" fmla="*/ 91 h 819"/>
                <a:gd name="T32" fmla="*/ 442 w 750"/>
                <a:gd name="T33" fmla="*/ 188 h 819"/>
                <a:gd name="T34" fmla="*/ 232 w 750"/>
                <a:gd name="T35" fmla="*/ 135 h 819"/>
                <a:gd name="T36" fmla="*/ 735 w 750"/>
                <a:gd name="T37" fmla="*/ 819 h 819"/>
                <a:gd name="T38" fmla="*/ 750 w 750"/>
                <a:gd name="T39" fmla="*/ 679 h 819"/>
                <a:gd name="T40" fmla="*/ 513 w 750"/>
                <a:gd name="T41" fmla="*/ 422 h 819"/>
                <a:gd name="T42" fmla="*/ 480 w 750"/>
                <a:gd name="T43" fmla="*/ 420 h 819"/>
                <a:gd name="T44" fmla="*/ 548 w 750"/>
                <a:gd name="T45" fmla="*/ 279 h 819"/>
                <a:gd name="T46" fmla="*/ 548 w 750"/>
                <a:gd name="T47" fmla="*/ 122 h 819"/>
                <a:gd name="T48" fmla="*/ 548 w 750"/>
                <a:gd name="T49" fmla="*/ 120 h 819"/>
                <a:gd name="T50" fmla="*/ 548 w 750"/>
                <a:gd name="T51" fmla="*/ 101 h 819"/>
                <a:gd name="T52" fmla="*/ 337 w 750"/>
                <a:gd name="T53" fmla="*/ 0 h 819"/>
                <a:gd name="T54" fmla="*/ 201 w 750"/>
                <a:gd name="T55" fmla="*/ 279 h 819"/>
                <a:gd name="T56" fmla="*/ 270 w 750"/>
                <a:gd name="T57" fmla="*/ 420 h 819"/>
                <a:gd name="T58" fmla="*/ 236 w 750"/>
                <a:gd name="T59" fmla="*/ 422 h 819"/>
                <a:gd name="T60" fmla="*/ 0 w 750"/>
                <a:gd name="T61" fmla="*/ 679 h 819"/>
                <a:gd name="T62" fmla="*/ 15 w 750"/>
                <a:gd name="T63"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0" h="819">
                  <a:moveTo>
                    <a:pt x="30" y="702"/>
                  </a:moveTo>
                  <a:lnTo>
                    <a:pt x="30" y="702"/>
                  </a:lnTo>
                  <a:cubicBezTo>
                    <a:pt x="30" y="668"/>
                    <a:pt x="31" y="657"/>
                    <a:pt x="31" y="657"/>
                  </a:cubicBezTo>
                  <a:cubicBezTo>
                    <a:pt x="42" y="552"/>
                    <a:pt x="125" y="467"/>
                    <a:pt x="228" y="454"/>
                  </a:cubicBezTo>
                  <a:lnTo>
                    <a:pt x="235" y="453"/>
                  </a:lnTo>
                  <a:lnTo>
                    <a:pt x="364" y="582"/>
                  </a:lnTo>
                  <a:cubicBezTo>
                    <a:pt x="370" y="588"/>
                    <a:pt x="380" y="588"/>
                    <a:pt x="386" y="582"/>
                  </a:cubicBezTo>
                  <a:lnTo>
                    <a:pt x="514" y="453"/>
                  </a:lnTo>
                  <a:lnTo>
                    <a:pt x="521" y="454"/>
                  </a:lnTo>
                  <a:cubicBezTo>
                    <a:pt x="634" y="468"/>
                    <a:pt x="719" y="565"/>
                    <a:pt x="719" y="679"/>
                  </a:cubicBezTo>
                  <a:lnTo>
                    <a:pt x="719" y="789"/>
                  </a:lnTo>
                  <a:lnTo>
                    <a:pt x="30" y="789"/>
                  </a:lnTo>
                  <a:lnTo>
                    <a:pt x="30" y="702"/>
                  </a:lnTo>
                  <a:close/>
                  <a:moveTo>
                    <a:pt x="472" y="452"/>
                  </a:moveTo>
                  <a:lnTo>
                    <a:pt x="472" y="452"/>
                  </a:lnTo>
                  <a:lnTo>
                    <a:pt x="375" y="549"/>
                  </a:lnTo>
                  <a:lnTo>
                    <a:pt x="278" y="452"/>
                  </a:lnTo>
                  <a:lnTo>
                    <a:pt x="472" y="452"/>
                  </a:lnTo>
                  <a:close/>
                  <a:moveTo>
                    <a:pt x="232" y="279"/>
                  </a:moveTo>
                  <a:lnTo>
                    <a:pt x="232" y="279"/>
                  </a:lnTo>
                  <a:lnTo>
                    <a:pt x="232" y="219"/>
                  </a:lnTo>
                  <a:lnTo>
                    <a:pt x="442" y="219"/>
                  </a:lnTo>
                  <a:cubicBezTo>
                    <a:pt x="461" y="219"/>
                    <a:pt x="480" y="214"/>
                    <a:pt x="497" y="204"/>
                  </a:cubicBezTo>
                  <a:lnTo>
                    <a:pt x="518" y="191"/>
                  </a:lnTo>
                  <a:lnTo>
                    <a:pt x="518" y="279"/>
                  </a:lnTo>
                  <a:cubicBezTo>
                    <a:pt x="518" y="357"/>
                    <a:pt x="454" y="422"/>
                    <a:pt x="375" y="422"/>
                  </a:cubicBezTo>
                  <a:cubicBezTo>
                    <a:pt x="296" y="422"/>
                    <a:pt x="232" y="357"/>
                    <a:pt x="232" y="279"/>
                  </a:cubicBezTo>
                  <a:close/>
                  <a:moveTo>
                    <a:pt x="232" y="135"/>
                  </a:moveTo>
                  <a:lnTo>
                    <a:pt x="232" y="135"/>
                  </a:lnTo>
                  <a:cubicBezTo>
                    <a:pt x="232" y="77"/>
                    <a:pt x="279" y="30"/>
                    <a:pt x="337" y="30"/>
                  </a:cubicBezTo>
                  <a:lnTo>
                    <a:pt x="457" y="30"/>
                  </a:lnTo>
                  <a:cubicBezTo>
                    <a:pt x="490" y="30"/>
                    <a:pt x="518" y="57"/>
                    <a:pt x="518" y="91"/>
                  </a:cubicBezTo>
                  <a:lnTo>
                    <a:pt x="518" y="112"/>
                  </a:lnTo>
                  <a:cubicBezTo>
                    <a:pt x="518" y="154"/>
                    <a:pt x="484" y="188"/>
                    <a:pt x="442" y="188"/>
                  </a:cubicBezTo>
                  <a:lnTo>
                    <a:pt x="232" y="188"/>
                  </a:lnTo>
                  <a:lnTo>
                    <a:pt x="232" y="135"/>
                  </a:lnTo>
                  <a:close/>
                  <a:moveTo>
                    <a:pt x="735" y="819"/>
                  </a:moveTo>
                  <a:lnTo>
                    <a:pt x="735" y="819"/>
                  </a:lnTo>
                  <a:cubicBezTo>
                    <a:pt x="743" y="819"/>
                    <a:pt x="750" y="813"/>
                    <a:pt x="750" y="804"/>
                  </a:cubicBezTo>
                  <a:lnTo>
                    <a:pt x="750" y="679"/>
                  </a:lnTo>
                  <a:cubicBezTo>
                    <a:pt x="750" y="547"/>
                    <a:pt x="647" y="435"/>
                    <a:pt x="516" y="423"/>
                  </a:cubicBezTo>
                  <a:lnTo>
                    <a:pt x="513" y="422"/>
                  </a:lnTo>
                  <a:cubicBezTo>
                    <a:pt x="512" y="422"/>
                    <a:pt x="511" y="422"/>
                    <a:pt x="510" y="422"/>
                  </a:cubicBezTo>
                  <a:lnTo>
                    <a:pt x="480" y="420"/>
                  </a:lnTo>
                  <a:lnTo>
                    <a:pt x="501" y="398"/>
                  </a:lnTo>
                  <a:cubicBezTo>
                    <a:pt x="531" y="366"/>
                    <a:pt x="548" y="323"/>
                    <a:pt x="548" y="279"/>
                  </a:cubicBezTo>
                  <a:lnTo>
                    <a:pt x="548" y="125"/>
                  </a:lnTo>
                  <a:cubicBezTo>
                    <a:pt x="548" y="124"/>
                    <a:pt x="548" y="123"/>
                    <a:pt x="548" y="122"/>
                  </a:cubicBezTo>
                  <a:lnTo>
                    <a:pt x="548" y="121"/>
                  </a:lnTo>
                  <a:lnTo>
                    <a:pt x="548" y="120"/>
                  </a:lnTo>
                  <a:cubicBezTo>
                    <a:pt x="548" y="117"/>
                    <a:pt x="548" y="115"/>
                    <a:pt x="548" y="112"/>
                  </a:cubicBezTo>
                  <a:lnTo>
                    <a:pt x="548" y="101"/>
                  </a:lnTo>
                  <a:cubicBezTo>
                    <a:pt x="548" y="45"/>
                    <a:pt x="503" y="0"/>
                    <a:pt x="447" y="0"/>
                  </a:cubicBezTo>
                  <a:lnTo>
                    <a:pt x="337" y="0"/>
                  </a:lnTo>
                  <a:cubicBezTo>
                    <a:pt x="262" y="0"/>
                    <a:pt x="201" y="60"/>
                    <a:pt x="201" y="135"/>
                  </a:cubicBezTo>
                  <a:lnTo>
                    <a:pt x="201" y="279"/>
                  </a:lnTo>
                  <a:cubicBezTo>
                    <a:pt x="201" y="323"/>
                    <a:pt x="218" y="366"/>
                    <a:pt x="249" y="398"/>
                  </a:cubicBezTo>
                  <a:lnTo>
                    <a:pt x="270" y="420"/>
                  </a:lnTo>
                  <a:lnTo>
                    <a:pt x="240" y="422"/>
                  </a:lnTo>
                  <a:cubicBezTo>
                    <a:pt x="238" y="422"/>
                    <a:pt x="237" y="422"/>
                    <a:pt x="236" y="422"/>
                  </a:cubicBezTo>
                  <a:lnTo>
                    <a:pt x="234" y="423"/>
                  </a:lnTo>
                  <a:cubicBezTo>
                    <a:pt x="102" y="435"/>
                    <a:pt x="0" y="547"/>
                    <a:pt x="0" y="679"/>
                  </a:cubicBezTo>
                  <a:lnTo>
                    <a:pt x="0" y="804"/>
                  </a:lnTo>
                  <a:cubicBezTo>
                    <a:pt x="0" y="813"/>
                    <a:pt x="6" y="819"/>
                    <a:pt x="15" y="819"/>
                  </a:cubicBezTo>
                  <a:lnTo>
                    <a:pt x="735" y="819"/>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prstClr val="white"/>
                </a:solidFill>
                <a:effectLst/>
                <a:uLnTx/>
                <a:uFillTx/>
                <a:latin typeface="ACHS Nueva Sans" pitchFamily="2" charset="0"/>
              </a:endParaRPr>
            </a:p>
          </p:txBody>
        </p:sp>
        <p:sp>
          <p:nvSpPr>
            <p:cNvPr id="35" name="Marcador de texto 2">
              <a:extLst>
                <a:ext uri="{FF2B5EF4-FFF2-40B4-BE49-F238E27FC236}">
                  <a16:creationId xmlns="" xmlns:a16="http://schemas.microsoft.com/office/drawing/2014/main" id="{328429E5-D53C-3CD2-A2F0-CE417551744C}"/>
                </a:ext>
              </a:extLst>
            </p:cNvPr>
            <p:cNvSpPr txBox="1">
              <a:spLocks/>
            </p:cNvSpPr>
            <p:nvPr/>
          </p:nvSpPr>
          <p:spPr>
            <a:xfrm>
              <a:off x="2187257" y="2376877"/>
              <a:ext cx="209107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004C14"/>
                  </a:solidFill>
                  <a:effectLst/>
                  <a:uLnTx/>
                  <a:uFillTx/>
                  <a:latin typeface="ACHS Nueva Sans" pitchFamily="2" charset="0"/>
                  <a:sym typeface="Arial"/>
                </a:rPr>
                <a:t>Entidad empleadora A</a:t>
              </a:r>
            </a:p>
          </p:txBody>
        </p:sp>
      </p:grpSp>
      <p:grpSp>
        <p:nvGrpSpPr>
          <p:cNvPr id="37" name="Grupo 36"/>
          <p:cNvGrpSpPr/>
          <p:nvPr/>
        </p:nvGrpSpPr>
        <p:grpSpPr>
          <a:xfrm>
            <a:off x="7797314" y="3485961"/>
            <a:ext cx="3002209" cy="1310080"/>
            <a:chOff x="8102120" y="5166481"/>
            <a:chExt cx="3002209" cy="1310080"/>
          </a:xfrm>
        </p:grpSpPr>
        <p:sp>
          <p:nvSpPr>
            <p:cNvPr id="38" name="Freeform 113">
              <a:extLst>
                <a:ext uri="{FF2B5EF4-FFF2-40B4-BE49-F238E27FC236}">
                  <a16:creationId xmlns="" xmlns:a16="http://schemas.microsoft.com/office/drawing/2014/main" id="{1CA6437D-66EF-E07E-5F4D-551ACF21E9B3}"/>
                </a:ext>
              </a:extLst>
            </p:cNvPr>
            <p:cNvSpPr>
              <a:spLocks noEditPoints="1"/>
            </p:cNvSpPr>
            <p:nvPr/>
          </p:nvSpPr>
          <p:spPr bwMode="auto">
            <a:xfrm>
              <a:off x="8132244" y="5166481"/>
              <a:ext cx="658862" cy="656362"/>
            </a:xfrm>
            <a:custGeom>
              <a:avLst/>
              <a:gdLst>
                <a:gd name="T0" fmla="*/ 525 w 871"/>
                <a:gd name="T1" fmla="*/ 713 h 872"/>
                <a:gd name="T2" fmla="*/ 681 w 871"/>
                <a:gd name="T3" fmla="*/ 590 h 872"/>
                <a:gd name="T4" fmla="*/ 655 w 871"/>
                <a:gd name="T5" fmla="*/ 380 h 872"/>
                <a:gd name="T6" fmla="*/ 655 w 871"/>
                <a:gd name="T7" fmla="*/ 404 h 872"/>
                <a:gd name="T8" fmla="*/ 323 w 871"/>
                <a:gd name="T9" fmla="*/ 38 h 872"/>
                <a:gd name="T10" fmla="*/ 621 w 871"/>
                <a:gd name="T11" fmla="*/ 187 h 872"/>
                <a:gd name="T12" fmla="*/ 621 w 871"/>
                <a:gd name="T13" fmla="*/ 187 h 872"/>
                <a:gd name="T14" fmla="*/ 337 w 871"/>
                <a:gd name="T15" fmla="*/ 779 h 872"/>
                <a:gd name="T16" fmla="*/ 389 w 871"/>
                <a:gd name="T17" fmla="*/ 837 h 872"/>
                <a:gd name="T18" fmla="*/ 389 w 871"/>
                <a:gd name="T19" fmla="*/ 837 h 872"/>
                <a:gd name="T20" fmla="*/ 216 w 871"/>
                <a:gd name="T21" fmla="*/ 779 h 872"/>
                <a:gd name="T22" fmla="*/ 34 w 871"/>
                <a:gd name="T23" fmla="*/ 164 h 872"/>
                <a:gd name="T24" fmla="*/ 34 w 871"/>
                <a:gd name="T25" fmla="*/ 164 h 872"/>
                <a:gd name="T26" fmla="*/ 82 w 871"/>
                <a:gd name="T27" fmla="*/ 129 h 872"/>
                <a:gd name="T28" fmla="*/ 303 w 871"/>
                <a:gd name="T29" fmla="*/ 779 h 872"/>
                <a:gd name="T30" fmla="*/ 250 w 871"/>
                <a:gd name="T31" fmla="*/ 665 h 872"/>
                <a:gd name="T32" fmla="*/ 303 w 871"/>
                <a:gd name="T33" fmla="*/ 578 h 872"/>
                <a:gd name="T34" fmla="*/ 303 w 871"/>
                <a:gd name="T35" fmla="*/ 578 h 872"/>
                <a:gd name="T36" fmla="*/ 250 w 871"/>
                <a:gd name="T37" fmla="*/ 582 h 872"/>
                <a:gd name="T38" fmla="*/ 303 w 871"/>
                <a:gd name="T39" fmla="*/ 495 h 872"/>
                <a:gd name="T40" fmla="*/ 250 w 871"/>
                <a:gd name="T41" fmla="*/ 318 h 872"/>
                <a:gd name="T42" fmla="*/ 250 w 871"/>
                <a:gd name="T43" fmla="*/ 222 h 872"/>
                <a:gd name="T44" fmla="*/ 250 w 871"/>
                <a:gd name="T45" fmla="*/ 222 h 872"/>
                <a:gd name="T46" fmla="*/ 257 w 871"/>
                <a:gd name="T47" fmla="*/ 277 h 872"/>
                <a:gd name="T48" fmla="*/ 303 w 871"/>
                <a:gd name="T49" fmla="*/ 164 h 872"/>
                <a:gd name="T50" fmla="*/ 250 w 871"/>
                <a:gd name="T51" fmla="*/ 164 h 872"/>
                <a:gd name="T52" fmla="*/ 288 w 871"/>
                <a:gd name="T53" fmla="*/ 130 h 872"/>
                <a:gd name="T54" fmla="*/ 707 w 871"/>
                <a:gd name="T55" fmla="*/ 187 h 872"/>
                <a:gd name="T56" fmla="*/ 707 w 871"/>
                <a:gd name="T57" fmla="*/ 187 h 872"/>
                <a:gd name="T58" fmla="*/ 655 w 871"/>
                <a:gd name="T59" fmla="*/ 221 h 872"/>
                <a:gd name="T60" fmla="*/ 741 w 871"/>
                <a:gd name="T61" fmla="*/ 164 h 872"/>
                <a:gd name="T62" fmla="*/ 741 w 871"/>
                <a:gd name="T63" fmla="*/ 164 h 872"/>
                <a:gd name="T64" fmla="*/ 713 w 871"/>
                <a:gd name="T65" fmla="*/ 573 h 872"/>
                <a:gd name="T66" fmla="*/ 724 w 871"/>
                <a:gd name="T67" fmla="*/ 438 h 872"/>
                <a:gd name="T68" fmla="*/ 871 w 871"/>
                <a:gd name="T69" fmla="*/ 204 h 872"/>
                <a:gd name="T70" fmla="*/ 869 w 871"/>
                <a:gd name="T71" fmla="*/ 139 h 872"/>
                <a:gd name="T72" fmla="*/ 309 w 871"/>
                <a:gd name="T73" fmla="*/ 1 h 872"/>
                <a:gd name="T74" fmla="*/ 8 w 871"/>
                <a:gd name="T75" fmla="*/ 132 h 872"/>
                <a:gd name="T76" fmla="*/ 1 w 871"/>
                <a:gd name="T77" fmla="*/ 141 h 872"/>
                <a:gd name="T78" fmla="*/ 216 w 871"/>
                <a:gd name="T79" fmla="*/ 222 h 872"/>
                <a:gd name="T80" fmla="*/ 158 w 871"/>
                <a:gd name="T81" fmla="*/ 779 h 872"/>
                <a:gd name="T82" fmla="*/ 424 w 871"/>
                <a:gd name="T83" fmla="*/ 779 h 872"/>
                <a:gd name="T84" fmla="*/ 337 w 871"/>
                <a:gd name="T85" fmla="*/ 486 h 872"/>
                <a:gd name="T86" fmla="*/ 638 w 871"/>
                <a:gd name="T87" fmla="*/ 438 h 872"/>
                <a:gd name="T88" fmla="*/ 707 w 871"/>
                <a:gd name="T89" fmla="*/ 522 h 872"/>
                <a:gd name="T90" fmla="*/ 655 w 871"/>
                <a:gd name="T91" fmla="*/ 505 h 872"/>
                <a:gd name="T92" fmla="*/ 621 w 871"/>
                <a:gd name="T93" fmla="*/ 505 h 872"/>
                <a:gd name="T94" fmla="*/ 508 w 871"/>
                <a:gd name="T95" fmla="*/ 678 h 872"/>
                <a:gd name="T96" fmla="*/ 854 w 871"/>
                <a:gd name="T97" fmla="*/ 843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872">
                  <a:moveTo>
                    <a:pt x="837" y="808"/>
                  </a:moveTo>
                  <a:lnTo>
                    <a:pt x="837" y="808"/>
                  </a:lnTo>
                  <a:lnTo>
                    <a:pt x="525" y="808"/>
                  </a:lnTo>
                  <a:lnTo>
                    <a:pt x="525" y="713"/>
                  </a:lnTo>
                  <a:lnTo>
                    <a:pt x="837" y="713"/>
                  </a:lnTo>
                  <a:lnTo>
                    <a:pt x="837" y="808"/>
                  </a:lnTo>
                  <a:close/>
                  <a:moveTo>
                    <a:pt x="681" y="590"/>
                  </a:moveTo>
                  <a:lnTo>
                    <a:pt x="681" y="590"/>
                  </a:lnTo>
                  <a:lnTo>
                    <a:pt x="770" y="678"/>
                  </a:lnTo>
                  <a:lnTo>
                    <a:pt x="592" y="678"/>
                  </a:lnTo>
                  <a:lnTo>
                    <a:pt x="681" y="590"/>
                  </a:lnTo>
                  <a:close/>
                  <a:moveTo>
                    <a:pt x="655" y="380"/>
                  </a:moveTo>
                  <a:lnTo>
                    <a:pt x="655" y="380"/>
                  </a:lnTo>
                  <a:lnTo>
                    <a:pt x="707" y="380"/>
                  </a:lnTo>
                  <a:lnTo>
                    <a:pt x="707" y="404"/>
                  </a:lnTo>
                  <a:lnTo>
                    <a:pt x="655" y="404"/>
                  </a:lnTo>
                  <a:lnTo>
                    <a:pt x="655" y="380"/>
                  </a:lnTo>
                  <a:close/>
                  <a:moveTo>
                    <a:pt x="323" y="129"/>
                  </a:moveTo>
                  <a:lnTo>
                    <a:pt x="323" y="129"/>
                  </a:lnTo>
                  <a:lnTo>
                    <a:pt x="323" y="38"/>
                  </a:lnTo>
                  <a:lnTo>
                    <a:pt x="708" y="129"/>
                  </a:lnTo>
                  <a:lnTo>
                    <a:pt x="323" y="129"/>
                  </a:lnTo>
                  <a:close/>
                  <a:moveTo>
                    <a:pt x="621" y="187"/>
                  </a:moveTo>
                  <a:lnTo>
                    <a:pt x="621" y="187"/>
                  </a:lnTo>
                  <a:lnTo>
                    <a:pt x="337" y="187"/>
                  </a:lnTo>
                  <a:lnTo>
                    <a:pt x="337" y="164"/>
                  </a:lnTo>
                  <a:lnTo>
                    <a:pt x="621" y="164"/>
                  </a:lnTo>
                  <a:lnTo>
                    <a:pt x="621" y="187"/>
                  </a:lnTo>
                  <a:close/>
                  <a:moveTo>
                    <a:pt x="361" y="558"/>
                  </a:moveTo>
                  <a:lnTo>
                    <a:pt x="361" y="558"/>
                  </a:lnTo>
                  <a:lnTo>
                    <a:pt x="361" y="779"/>
                  </a:lnTo>
                  <a:lnTo>
                    <a:pt x="337" y="779"/>
                  </a:lnTo>
                  <a:lnTo>
                    <a:pt x="337" y="535"/>
                  </a:lnTo>
                  <a:lnTo>
                    <a:pt x="361" y="558"/>
                  </a:lnTo>
                  <a:close/>
                  <a:moveTo>
                    <a:pt x="389" y="837"/>
                  </a:moveTo>
                  <a:lnTo>
                    <a:pt x="389" y="837"/>
                  </a:lnTo>
                  <a:lnTo>
                    <a:pt x="164" y="837"/>
                  </a:lnTo>
                  <a:lnTo>
                    <a:pt x="164" y="814"/>
                  </a:lnTo>
                  <a:lnTo>
                    <a:pt x="389" y="814"/>
                  </a:lnTo>
                  <a:lnTo>
                    <a:pt x="389" y="837"/>
                  </a:lnTo>
                  <a:close/>
                  <a:moveTo>
                    <a:pt x="193" y="558"/>
                  </a:moveTo>
                  <a:lnTo>
                    <a:pt x="193" y="558"/>
                  </a:lnTo>
                  <a:lnTo>
                    <a:pt x="216" y="535"/>
                  </a:lnTo>
                  <a:lnTo>
                    <a:pt x="216" y="779"/>
                  </a:lnTo>
                  <a:lnTo>
                    <a:pt x="193" y="779"/>
                  </a:lnTo>
                  <a:lnTo>
                    <a:pt x="193" y="558"/>
                  </a:lnTo>
                  <a:close/>
                  <a:moveTo>
                    <a:pt x="34" y="164"/>
                  </a:moveTo>
                  <a:lnTo>
                    <a:pt x="34" y="164"/>
                  </a:lnTo>
                  <a:lnTo>
                    <a:pt x="216" y="164"/>
                  </a:lnTo>
                  <a:lnTo>
                    <a:pt x="216" y="187"/>
                  </a:lnTo>
                  <a:lnTo>
                    <a:pt x="34" y="187"/>
                  </a:lnTo>
                  <a:lnTo>
                    <a:pt x="34" y="164"/>
                  </a:lnTo>
                  <a:close/>
                  <a:moveTo>
                    <a:pt x="231" y="46"/>
                  </a:moveTo>
                  <a:lnTo>
                    <a:pt x="231" y="46"/>
                  </a:lnTo>
                  <a:lnTo>
                    <a:pt x="231" y="129"/>
                  </a:lnTo>
                  <a:lnTo>
                    <a:pt x="82" y="129"/>
                  </a:lnTo>
                  <a:lnTo>
                    <a:pt x="231" y="46"/>
                  </a:lnTo>
                  <a:close/>
                  <a:moveTo>
                    <a:pt x="303" y="751"/>
                  </a:moveTo>
                  <a:lnTo>
                    <a:pt x="303" y="751"/>
                  </a:lnTo>
                  <a:lnTo>
                    <a:pt x="303" y="779"/>
                  </a:lnTo>
                  <a:lnTo>
                    <a:pt x="275" y="779"/>
                  </a:lnTo>
                  <a:lnTo>
                    <a:pt x="303" y="751"/>
                  </a:lnTo>
                  <a:close/>
                  <a:moveTo>
                    <a:pt x="250" y="665"/>
                  </a:moveTo>
                  <a:lnTo>
                    <a:pt x="250" y="665"/>
                  </a:lnTo>
                  <a:lnTo>
                    <a:pt x="296" y="710"/>
                  </a:lnTo>
                  <a:lnTo>
                    <a:pt x="250" y="755"/>
                  </a:lnTo>
                  <a:lnTo>
                    <a:pt x="250" y="665"/>
                  </a:lnTo>
                  <a:close/>
                  <a:moveTo>
                    <a:pt x="303" y="578"/>
                  </a:moveTo>
                  <a:lnTo>
                    <a:pt x="303" y="578"/>
                  </a:lnTo>
                  <a:lnTo>
                    <a:pt x="303" y="669"/>
                  </a:lnTo>
                  <a:lnTo>
                    <a:pt x="257" y="623"/>
                  </a:lnTo>
                  <a:lnTo>
                    <a:pt x="303" y="578"/>
                  </a:lnTo>
                  <a:close/>
                  <a:moveTo>
                    <a:pt x="250" y="491"/>
                  </a:moveTo>
                  <a:lnTo>
                    <a:pt x="250" y="491"/>
                  </a:lnTo>
                  <a:lnTo>
                    <a:pt x="296" y="537"/>
                  </a:lnTo>
                  <a:lnTo>
                    <a:pt x="250" y="582"/>
                  </a:lnTo>
                  <a:lnTo>
                    <a:pt x="250" y="491"/>
                  </a:lnTo>
                  <a:close/>
                  <a:moveTo>
                    <a:pt x="303" y="405"/>
                  </a:moveTo>
                  <a:lnTo>
                    <a:pt x="303" y="405"/>
                  </a:lnTo>
                  <a:lnTo>
                    <a:pt x="303" y="495"/>
                  </a:lnTo>
                  <a:lnTo>
                    <a:pt x="257" y="450"/>
                  </a:lnTo>
                  <a:lnTo>
                    <a:pt x="303" y="405"/>
                  </a:lnTo>
                  <a:close/>
                  <a:moveTo>
                    <a:pt x="250" y="318"/>
                  </a:moveTo>
                  <a:lnTo>
                    <a:pt x="250" y="318"/>
                  </a:lnTo>
                  <a:lnTo>
                    <a:pt x="296" y="363"/>
                  </a:lnTo>
                  <a:lnTo>
                    <a:pt x="250" y="409"/>
                  </a:lnTo>
                  <a:lnTo>
                    <a:pt x="250" y="318"/>
                  </a:lnTo>
                  <a:close/>
                  <a:moveTo>
                    <a:pt x="250" y="222"/>
                  </a:moveTo>
                  <a:lnTo>
                    <a:pt x="250" y="222"/>
                  </a:lnTo>
                  <a:lnTo>
                    <a:pt x="264" y="222"/>
                  </a:lnTo>
                  <a:lnTo>
                    <a:pt x="250" y="235"/>
                  </a:lnTo>
                  <a:lnTo>
                    <a:pt x="250" y="222"/>
                  </a:lnTo>
                  <a:close/>
                  <a:moveTo>
                    <a:pt x="303" y="231"/>
                  </a:moveTo>
                  <a:lnTo>
                    <a:pt x="303" y="231"/>
                  </a:lnTo>
                  <a:lnTo>
                    <a:pt x="303" y="322"/>
                  </a:lnTo>
                  <a:lnTo>
                    <a:pt x="257" y="277"/>
                  </a:lnTo>
                  <a:lnTo>
                    <a:pt x="303" y="231"/>
                  </a:lnTo>
                  <a:close/>
                  <a:moveTo>
                    <a:pt x="250" y="164"/>
                  </a:moveTo>
                  <a:lnTo>
                    <a:pt x="250" y="164"/>
                  </a:lnTo>
                  <a:lnTo>
                    <a:pt x="303" y="164"/>
                  </a:lnTo>
                  <a:lnTo>
                    <a:pt x="303" y="183"/>
                  </a:lnTo>
                  <a:lnTo>
                    <a:pt x="298" y="187"/>
                  </a:lnTo>
                  <a:lnTo>
                    <a:pt x="250" y="187"/>
                  </a:lnTo>
                  <a:lnTo>
                    <a:pt x="250" y="164"/>
                  </a:lnTo>
                  <a:close/>
                  <a:moveTo>
                    <a:pt x="265" y="34"/>
                  </a:moveTo>
                  <a:lnTo>
                    <a:pt x="265" y="34"/>
                  </a:lnTo>
                  <a:lnTo>
                    <a:pt x="288" y="34"/>
                  </a:lnTo>
                  <a:lnTo>
                    <a:pt x="288" y="130"/>
                  </a:lnTo>
                  <a:lnTo>
                    <a:pt x="265" y="130"/>
                  </a:lnTo>
                  <a:lnTo>
                    <a:pt x="265" y="34"/>
                  </a:lnTo>
                  <a:close/>
                  <a:moveTo>
                    <a:pt x="707" y="187"/>
                  </a:moveTo>
                  <a:lnTo>
                    <a:pt x="707" y="187"/>
                  </a:lnTo>
                  <a:lnTo>
                    <a:pt x="655" y="187"/>
                  </a:lnTo>
                  <a:lnTo>
                    <a:pt x="655" y="164"/>
                  </a:lnTo>
                  <a:lnTo>
                    <a:pt x="707" y="164"/>
                  </a:lnTo>
                  <a:lnTo>
                    <a:pt x="707" y="187"/>
                  </a:lnTo>
                  <a:close/>
                  <a:moveTo>
                    <a:pt x="707" y="346"/>
                  </a:moveTo>
                  <a:lnTo>
                    <a:pt x="707" y="346"/>
                  </a:lnTo>
                  <a:lnTo>
                    <a:pt x="655" y="346"/>
                  </a:lnTo>
                  <a:lnTo>
                    <a:pt x="655" y="221"/>
                  </a:lnTo>
                  <a:lnTo>
                    <a:pt x="707" y="221"/>
                  </a:lnTo>
                  <a:lnTo>
                    <a:pt x="707" y="346"/>
                  </a:lnTo>
                  <a:close/>
                  <a:moveTo>
                    <a:pt x="741" y="164"/>
                  </a:moveTo>
                  <a:lnTo>
                    <a:pt x="741" y="164"/>
                  </a:lnTo>
                  <a:lnTo>
                    <a:pt x="837" y="164"/>
                  </a:lnTo>
                  <a:lnTo>
                    <a:pt x="837" y="187"/>
                  </a:lnTo>
                  <a:lnTo>
                    <a:pt x="741" y="187"/>
                  </a:lnTo>
                  <a:lnTo>
                    <a:pt x="741" y="164"/>
                  </a:lnTo>
                  <a:close/>
                  <a:moveTo>
                    <a:pt x="854" y="678"/>
                  </a:moveTo>
                  <a:lnTo>
                    <a:pt x="854" y="678"/>
                  </a:lnTo>
                  <a:lnTo>
                    <a:pt x="818" y="678"/>
                  </a:lnTo>
                  <a:lnTo>
                    <a:pt x="713" y="573"/>
                  </a:lnTo>
                  <a:cubicBezTo>
                    <a:pt x="740" y="557"/>
                    <a:pt x="749" y="522"/>
                    <a:pt x="734" y="493"/>
                  </a:cubicBezTo>
                  <a:cubicBezTo>
                    <a:pt x="727" y="479"/>
                    <a:pt x="714" y="469"/>
                    <a:pt x="698" y="464"/>
                  </a:cubicBezTo>
                  <a:lnTo>
                    <a:pt x="698" y="438"/>
                  </a:lnTo>
                  <a:lnTo>
                    <a:pt x="724" y="438"/>
                  </a:lnTo>
                  <a:cubicBezTo>
                    <a:pt x="734" y="438"/>
                    <a:pt x="741" y="430"/>
                    <a:pt x="741" y="421"/>
                  </a:cubicBezTo>
                  <a:lnTo>
                    <a:pt x="741" y="222"/>
                  </a:lnTo>
                  <a:lnTo>
                    <a:pt x="854" y="222"/>
                  </a:lnTo>
                  <a:cubicBezTo>
                    <a:pt x="864" y="222"/>
                    <a:pt x="871" y="214"/>
                    <a:pt x="871" y="204"/>
                  </a:cubicBezTo>
                  <a:lnTo>
                    <a:pt x="871" y="146"/>
                  </a:lnTo>
                  <a:cubicBezTo>
                    <a:pt x="871" y="146"/>
                    <a:pt x="871" y="145"/>
                    <a:pt x="871" y="145"/>
                  </a:cubicBezTo>
                  <a:cubicBezTo>
                    <a:pt x="871" y="143"/>
                    <a:pt x="871" y="142"/>
                    <a:pt x="870" y="141"/>
                  </a:cubicBezTo>
                  <a:cubicBezTo>
                    <a:pt x="870" y="140"/>
                    <a:pt x="870" y="139"/>
                    <a:pt x="869" y="139"/>
                  </a:cubicBezTo>
                  <a:cubicBezTo>
                    <a:pt x="868" y="136"/>
                    <a:pt x="865" y="133"/>
                    <a:pt x="862" y="132"/>
                  </a:cubicBezTo>
                  <a:cubicBezTo>
                    <a:pt x="862" y="131"/>
                    <a:pt x="861" y="131"/>
                    <a:pt x="860" y="130"/>
                  </a:cubicBezTo>
                  <a:cubicBezTo>
                    <a:pt x="859" y="130"/>
                    <a:pt x="859" y="130"/>
                    <a:pt x="858" y="130"/>
                  </a:cubicBezTo>
                  <a:lnTo>
                    <a:pt x="309" y="1"/>
                  </a:lnTo>
                  <a:cubicBezTo>
                    <a:pt x="308" y="1"/>
                    <a:pt x="307" y="0"/>
                    <a:pt x="305" y="0"/>
                  </a:cubicBezTo>
                  <a:lnTo>
                    <a:pt x="248" y="0"/>
                  </a:lnTo>
                  <a:cubicBezTo>
                    <a:pt x="246" y="1"/>
                    <a:pt x="244" y="1"/>
                    <a:pt x="242" y="2"/>
                  </a:cubicBezTo>
                  <a:lnTo>
                    <a:pt x="8" y="132"/>
                  </a:lnTo>
                  <a:cubicBezTo>
                    <a:pt x="7" y="132"/>
                    <a:pt x="6" y="133"/>
                    <a:pt x="6" y="133"/>
                  </a:cubicBezTo>
                  <a:cubicBezTo>
                    <a:pt x="5" y="134"/>
                    <a:pt x="5" y="134"/>
                    <a:pt x="4" y="135"/>
                  </a:cubicBezTo>
                  <a:cubicBezTo>
                    <a:pt x="3" y="136"/>
                    <a:pt x="2" y="138"/>
                    <a:pt x="1" y="140"/>
                  </a:cubicBezTo>
                  <a:lnTo>
                    <a:pt x="1" y="141"/>
                  </a:lnTo>
                  <a:cubicBezTo>
                    <a:pt x="0" y="142"/>
                    <a:pt x="0" y="144"/>
                    <a:pt x="0" y="146"/>
                  </a:cubicBezTo>
                  <a:lnTo>
                    <a:pt x="0" y="204"/>
                  </a:lnTo>
                  <a:cubicBezTo>
                    <a:pt x="0" y="214"/>
                    <a:pt x="7" y="222"/>
                    <a:pt x="17" y="222"/>
                  </a:cubicBezTo>
                  <a:lnTo>
                    <a:pt x="216" y="222"/>
                  </a:lnTo>
                  <a:lnTo>
                    <a:pt x="216" y="486"/>
                  </a:lnTo>
                  <a:lnTo>
                    <a:pt x="163" y="539"/>
                  </a:lnTo>
                  <a:cubicBezTo>
                    <a:pt x="160" y="542"/>
                    <a:pt x="158" y="546"/>
                    <a:pt x="158" y="551"/>
                  </a:cubicBezTo>
                  <a:lnTo>
                    <a:pt x="158" y="779"/>
                  </a:lnTo>
                  <a:lnTo>
                    <a:pt x="129" y="779"/>
                  </a:lnTo>
                  <a:lnTo>
                    <a:pt x="129" y="872"/>
                  </a:lnTo>
                  <a:lnTo>
                    <a:pt x="424" y="872"/>
                  </a:lnTo>
                  <a:lnTo>
                    <a:pt x="424" y="779"/>
                  </a:lnTo>
                  <a:lnTo>
                    <a:pt x="395" y="779"/>
                  </a:lnTo>
                  <a:lnTo>
                    <a:pt x="395" y="551"/>
                  </a:lnTo>
                  <a:cubicBezTo>
                    <a:pt x="395" y="546"/>
                    <a:pt x="393" y="542"/>
                    <a:pt x="390" y="539"/>
                  </a:cubicBezTo>
                  <a:lnTo>
                    <a:pt x="337" y="486"/>
                  </a:lnTo>
                  <a:lnTo>
                    <a:pt x="337" y="222"/>
                  </a:lnTo>
                  <a:lnTo>
                    <a:pt x="621" y="222"/>
                  </a:lnTo>
                  <a:lnTo>
                    <a:pt x="621" y="421"/>
                  </a:lnTo>
                  <a:cubicBezTo>
                    <a:pt x="621" y="430"/>
                    <a:pt x="628" y="438"/>
                    <a:pt x="638" y="438"/>
                  </a:cubicBezTo>
                  <a:lnTo>
                    <a:pt x="664" y="438"/>
                  </a:lnTo>
                  <a:lnTo>
                    <a:pt x="664" y="479"/>
                  </a:lnTo>
                  <a:cubicBezTo>
                    <a:pt x="664" y="488"/>
                    <a:pt x="672" y="496"/>
                    <a:pt x="681" y="496"/>
                  </a:cubicBezTo>
                  <a:cubicBezTo>
                    <a:pt x="696" y="496"/>
                    <a:pt x="707" y="508"/>
                    <a:pt x="707" y="522"/>
                  </a:cubicBezTo>
                  <a:cubicBezTo>
                    <a:pt x="707" y="537"/>
                    <a:pt x="696" y="548"/>
                    <a:pt x="681" y="548"/>
                  </a:cubicBezTo>
                  <a:cubicBezTo>
                    <a:pt x="667" y="548"/>
                    <a:pt x="655" y="537"/>
                    <a:pt x="655" y="522"/>
                  </a:cubicBezTo>
                  <a:lnTo>
                    <a:pt x="655" y="505"/>
                  </a:lnTo>
                  <a:cubicBezTo>
                    <a:pt x="655" y="505"/>
                    <a:pt x="655" y="505"/>
                    <a:pt x="655" y="505"/>
                  </a:cubicBezTo>
                  <a:cubicBezTo>
                    <a:pt x="655" y="496"/>
                    <a:pt x="647" y="488"/>
                    <a:pt x="638" y="488"/>
                  </a:cubicBezTo>
                  <a:cubicBezTo>
                    <a:pt x="628" y="488"/>
                    <a:pt x="621" y="496"/>
                    <a:pt x="621" y="505"/>
                  </a:cubicBezTo>
                  <a:cubicBezTo>
                    <a:pt x="621" y="505"/>
                    <a:pt x="621" y="505"/>
                    <a:pt x="621" y="505"/>
                  </a:cubicBezTo>
                  <a:lnTo>
                    <a:pt x="621" y="505"/>
                  </a:lnTo>
                  <a:lnTo>
                    <a:pt x="621" y="522"/>
                  </a:lnTo>
                  <a:cubicBezTo>
                    <a:pt x="621" y="543"/>
                    <a:pt x="632" y="562"/>
                    <a:pt x="649" y="573"/>
                  </a:cubicBezTo>
                  <a:lnTo>
                    <a:pt x="544" y="678"/>
                  </a:lnTo>
                  <a:lnTo>
                    <a:pt x="508" y="678"/>
                  </a:lnTo>
                  <a:cubicBezTo>
                    <a:pt x="498" y="678"/>
                    <a:pt x="491" y="686"/>
                    <a:pt x="491" y="695"/>
                  </a:cubicBezTo>
                  <a:lnTo>
                    <a:pt x="491" y="825"/>
                  </a:lnTo>
                  <a:cubicBezTo>
                    <a:pt x="491" y="835"/>
                    <a:pt x="498" y="843"/>
                    <a:pt x="508" y="843"/>
                  </a:cubicBezTo>
                  <a:lnTo>
                    <a:pt x="854" y="843"/>
                  </a:lnTo>
                  <a:cubicBezTo>
                    <a:pt x="864" y="843"/>
                    <a:pt x="871" y="835"/>
                    <a:pt x="871" y="825"/>
                  </a:cubicBezTo>
                  <a:lnTo>
                    <a:pt x="871" y="695"/>
                  </a:lnTo>
                  <a:cubicBezTo>
                    <a:pt x="871" y="686"/>
                    <a:pt x="864" y="678"/>
                    <a:pt x="854" y="678"/>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39" name="Rectángulo 38"/>
            <p:cNvSpPr/>
            <p:nvPr/>
          </p:nvSpPr>
          <p:spPr>
            <a:xfrm>
              <a:off x="8102120" y="6014896"/>
              <a:ext cx="3002209"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Delegado de SST </a:t>
              </a:r>
              <a:r>
                <a:rPr kumimoji="0" lang="es-MX" sz="1200" b="0" i="0" u="none" strike="noStrike" kern="0" cap="none" spc="0" normalizeH="0" baseline="0" noProof="0" dirty="0">
                  <a:ln>
                    <a:noFill/>
                  </a:ln>
                  <a:solidFill>
                    <a:srgbClr val="000000"/>
                  </a:solidFill>
                  <a:effectLst/>
                  <a:uLnTx/>
                  <a:uFillTx/>
                  <a:latin typeface="ACHS Nueva Sans" pitchFamily="2" charset="0"/>
                </a:rPr>
                <a:t>en lugares de trabajo entre 10 y 25 personas trabajadoras</a:t>
              </a:r>
            </a:p>
          </p:txBody>
        </p:sp>
        <p:sp>
          <p:nvSpPr>
            <p:cNvPr id="40" name="Marcador de texto 2">
              <a:extLst>
                <a:ext uri="{FF2B5EF4-FFF2-40B4-BE49-F238E27FC236}">
                  <a16:creationId xmlns="" xmlns:a16="http://schemas.microsoft.com/office/drawing/2014/main" id="{328429E5-D53C-3CD2-A2F0-CE417551744C}"/>
                </a:ext>
              </a:extLst>
            </p:cNvPr>
            <p:cNvSpPr txBox="1">
              <a:spLocks/>
            </p:cNvSpPr>
            <p:nvPr/>
          </p:nvSpPr>
          <p:spPr>
            <a:xfrm>
              <a:off x="9034927" y="5607399"/>
              <a:ext cx="190014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7DFF46"/>
                  </a:solidFill>
                  <a:effectLst/>
                  <a:uLnTx/>
                  <a:uFillTx/>
                  <a:latin typeface="ACHS Nueva Sans" pitchFamily="2" charset="0"/>
                  <a:sym typeface="Arial"/>
                </a:rPr>
                <a:t>Centro de trabajo</a:t>
              </a:r>
            </a:p>
          </p:txBody>
        </p:sp>
      </p:grpSp>
      <p:grpSp>
        <p:nvGrpSpPr>
          <p:cNvPr id="41" name="Grupo 40"/>
          <p:cNvGrpSpPr/>
          <p:nvPr/>
        </p:nvGrpSpPr>
        <p:grpSpPr>
          <a:xfrm>
            <a:off x="7739953" y="5175123"/>
            <a:ext cx="2744180" cy="1518373"/>
            <a:chOff x="8044759" y="3488425"/>
            <a:chExt cx="2744180" cy="1518373"/>
          </a:xfrm>
        </p:grpSpPr>
        <p:sp>
          <p:nvSpPr>
            <p:cNvPr id="42" name="Rectángulo 41"/>
            <p:cNvSpPr/>
            <p:nvPr/>
          </p:nvSpPr>
          <p:spPr>
            <a:xfrm>
              <a:off x="8044759" y="4175801"/>
              <a:ext cx="2688260"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Comité Paritario de higiene y Seguridad</a:t>
              </a:r>
              <a:r>
                <a:rPr kumimoji="0" lang="es-MX" sz="1200" b="0" i="0" u="none" strike="noStrike" kern="0" cap="none" spc="0" normalizeH="0" baseline="0" noProof="0" dirty="0">
                  <a:ln>
                    <a:noFill/>
                  </a:ln>
                  <a:solidFill>
                    <a:srgbClr val="000000"/>
                  </a:solidFill>
                  <a:effectLst/>
                  <a:uLnTx/>
                  <a:uFillTx/>
                  <a:latin typeface="ACHS Nueva Sans" pitchFamily="2" charset="0"/>
                </a:rPr>
                <a:t> en lugares de trabajo con más de 25 personas trabajadoras</a:t>
              </a:r>
            </a:p>
          </p:txBody>
        </p:sp>
        <p:sp>
          <p:nvSpPr>
            <p:cNvPr id="43" name="Marcador de texto 2">
              <a:extLst>
                <a:ext uri="{FF2B5EF4-FFF2-40B4-BE49-F238E27FC236}">
                  <a16:creationId xmlns="" xmlns:a16="http://schemas.microsoft.com/office/drawing/2014/main" id="{328429E5-D53C-3CD2-A2F0-CE417551744C}"/>
                </a:ext>
              </a:extLst>
            </p:cNvPr>
            <p:cNvSpPr txBox="1">
              <a:spLocks/>
            </p:cNvSpPr>
            <p:nvPr/>
          </p:nvSpPr>
          <p:spPr>
            <a:xfrm>
              <a:off x="8888794" y="3850027"/>
              <a:ext cx="190014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7DFF46"/>
                  </a:solidFill>
                  <a:effectLst/>
                  <a:uLnTx/>
                  <a:uFillTx/>
                  <a:latin typeface="ACHS Nueva Sans" pitchFamily="2" charset="0"/>
                  <a:sym typeface="Arial"/>
                </a:rPr>
                <a:t>Centro de trabajo</a:t>
              </a:r>
            </a:p>
          </p:txBody>
        </p:sp>
        <p:grpSp>
          <p:nvGrpSpPr>
            <p:cNvPr id="44" name="Group 66">
              <a:extLst>
                <a:ext uri="{FF2B5EF4-FFF2-40B4-BE49-F238E27FC236}">
                  <a16:creationId xmlns="" xmlns:a16="http://schemas.microsoft.com/office/drawing/2014/main" id="{BF10A898-BBA7-0DF8-075E-8D9D59E6CBE7}"/>
                </a:ext>
              </a:extLst>
            </p:cNvPr>
            <p:cNvGrpSpPr>
              <a:grpSpLocks noChangeAspect="1"/>
            </p:cNvGrpSpPr>
            <p:nvPr/>
          </p:nvGrpSpPr>
          <p:grpSpPr bwMode="auto">
            <a:xfrm>
              <a:off x="8102120" y="3488425"/>
              <a:ext cx="592600" cy="591350"/>
              <a:chOff x="6827" y="1260"/>
              <a:chExt cx="474" cy="473"/>
            </a:xfrm>
            <a:solidFill>
              <a:srgbClr val="13C045"/>
            </a:solidFill>
          </p:grpSpPr>
          <p:sp>
            <p:nvSpPr>
              <p:cNvPr id="45" name="Freeform 67">
                <a:extLst>
                  <a:ext uri="{FF2B5EF4-FFF2-40B4-BE49-F238E27FC236}">
                    <a16:creationId xmlns="" xmlns:a16="http://schemas.microsoft.com/office/drawing/2014/main" id="{97A5EDC2-8A1B-BC3C-9510-1D4D4DEDFF89}"/>
                  </a:ext>
                </a:extLst>
              </p:cNvPr>
              <p:cNvSpPr>
                <a:spLocks noEditPoints="1"/>
              </p:cNvSpPr>
              <p:nvPr/>
            </p:nvSpPr>
            <p:spPr bwMode="auto">
              <a:xfrm>
                <a:off x="7130" y="1368"/>
                <a:ext cx="84" cy="84"/>
              </a:xfrm>
              <a:custGeom>
                <a:avLst/>
                <a:gdLst>
                  <a:gd name="T0" fmla="*/ 106 w 137"/>
                  <a:gd name="T1" fmla="*/ 106 h 137"/>
                  <a:gd name="T2" fmla="*/ 106 w 137"/>
                  <a:gd name="T3" fmla="*/ 106 h 137"/>
                  <a:gd name="T4" fmla="*/ 31 w 137"/>
                  <a:gd name="T5" fmla="*/ 106 h 137"/>
                  <a:gd name="T6" fmla="*/ 31 w 137"/>
                  <a:gd name="T7" fmla="*/ 31 h 137"/>
                  <a:gd name="T8" fmla="*/ 106 w 137"/>
                  <a:gd name="T9" fmla="*/ 31 h 137"/>
                  <a:gd name="T10" fmla="*/ 106 w 137"/>
                  <a:gd name="T11" fmla="*/ 106 h 137"/>
                  <a:gd name="T12" fmla="*/ 122 w 137"/>
                  <a:gd name="T13" fmla="*/ 0 h 137"/>
                  <a:gd name="T14" fmla="*/ 122 w 137"/>
                  <a:gd name="T15" fmla="*/ 0 h 137"/>
                  <a:gd name="T16" fmla="*/ 16 w 137"/>
                  <a:gd name="T17" fmla="*/ 0 h 137"/>
                  <a:gd name="T18" fmla="*/ 0 w 137"/>
                  <a:gd name="T19" fmla="*/ 16 h 137"/>
                  <a:gd name="T20" fmla="*/ 0 w 137"/>
                  <a:gd name="T21" fmla="*/ 122 h 137"/>
                  <a:gd name="T22" fmla="*/ 16 w 137"/>
                  <a:gd name="T23" fmla="*/ 137 h 137"/>
                  <a:gd name="T24" fmla="*/ 122 w 137"/>
                  <a:gd name="T25" fmla="*/ 137 h 137"/>
                  <a:gd name="T26" fmla="*/ 137 w 137"/>
                  <a:gd name="T27" fmla="*/ 122 h 137"/>
                  <a:gd name="T28" fmla="*/ 137 w 137"/>
                  <a:gd name="T29" fmla="*/ 16 h 137"/>
                  <a:gd name="T30" fmla="*/ 122 w 137"/>
                  <a:gd name="T31"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7">
                    <a:moveTo>
                      <a:pt x="106" y="106"/>
                    </a:moveTo>
                    <a:lnTo>
                      <a:pt x="106" y="106"/>
                    </a:lnTo>
                    <a:lnTo>
                      <a:pt x="31" y="106"/>
                    </a:lnTo>
                    <a:lnTo>
                      <a:pt x="31" y="31"/>
                    </a:lnTo>
                    <a:lnTo>
                      <a:pt x="106" y="31"/>
                    </a:lnTo>
                    <a:lnTo>
                      <a:pt x="106" y="106"/>
                    </a:lnTo>
                    <a:close/>
                    <a:moveTo>
                      <a:pt x="122" y="0"/>
                    </a:moveTo>
                    <a:lnTo>
                      <a:pt x="122" y="0"/>
                    </a:lnTo>
                    <a:lnTo>
                      <a:pt x="16" y="0"/>
                    </a:lnTo>
                    <a:cubicBezTo>
                      <a:pt x="7" y="0"/>
                      <a:pt x="0" y="7"/>
                      <a:pt x="0" y="16"/>
                    </a:cubicBezTo>
                    <a:lnTo>
                      <a:pt x="0" y="122"/>
                    </a:lnTo>
                    <a:cubicBezTo>
                      <a:pt x="0" y="130"/>
                      <a:pt x="7" y="137"/>
                      <a:pt x="16" y="137"/>
                    </a:cubicBezTo>
                    <a:lnTo>
                      <a:pt x="122" y="137"/>
                    </a:lnTo>
                    <a:cubicBezTo>
                      <a:pt x="130" y="137"/>
                      <a:pt x="137" y="130"/>
                      <a:pt x="137" y="122"/>
                    </a:cubicBezTo>
                    <a:lnTo>
                      <a:pt x="137" y="16"/>
                    </a:lnTo>
                    <a:cubicBezTo>
                      <a:pt x="137" y="7"/>
                      <a:pt x="130" y="0"/>
                      <a:pt x="122"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46" name="Freeform 68">
                <a:extLst>
                  <a:ext uri="{FF2B5EF4-FFF2-40B4-BE49-F238E27FC236}">
                    <a16:creationId xmlns="" xmlns:a16="http://schemas.microsoft.com/office/drawing/2014/main" id="{6003E77B-F55C-E4DA-47DE-3073B0F5F4C3}"/>
                  </a:ext>
                </a:extLst>
              </p:cNvPr>
              <p:cNvSpPr>
                <a:spLocks noEditPoints="1"/>
              </p:cNvSpPr>
              <p:nvPr/>
            </p:nvSpPr>
            <p:spPr bwMode="auto">
              <a:xfrm>
                <a:off x="7130" y="1477"/>
                <a:ext cx="84" cy="84"/>
              </a:xfrm>
              <a:custGeom>
                <a:avLst/>
                <a:gdLst>
                  <a:gd name="T0" fmla="*/ 106 w 137"/>
                  <a:gd name="T1" fmla="*/ 106 h 137"/>
                  <a:gd name="T2" fmla="*/ 106 w 137"/>
                  <a:gd name="T3" fmla="*/ 106 h 137"/>
                  <a:gd name="T4" fmla="*/ 31 w 137"/>
                  <a:gd name="T5" fmla="*/ 106 h 137"/>
                  <a:gd name="T6" fmla="*/ 31 w 137"/>
                  <a:gd name="T7" fmla="*/ 31 h 137"/>
                  <a:gd name="T8" fmla="*/ 106 w 137"/>
                  <a:gd name="T9" fmla="*/ 31 h 137"/>
                  <a:gd name="T10" fmla="*/ 106 w 137"/>
                  <a:gd name="T11" fmla="*/ 106 h 137"/>
                  <a:gd name="T12" fmla="*/ 122 w 137"/>
                  <a:gd name="T13" fmla="*/ 0 h 137"/>
                  <a:gd name="T14" fmla="*/ 122 w 137"/>
                  <a:gd name="T15" fmla="*/ 0 h 137"/>
                  <a:gd name="T16" fmla="*/ 16 w 137"/>
                  <a:gd name="T17" fmla="*/ 0 h 137"/>
                  <a:gd name="T18" fmla="*/ 0 w 137"/>
                  <a:gd name="T19" fmla="*/ 15 h 137"/>
                  <a:gd name="T20" fmla="*/ 0 w 137"/>
                  <a:gd name="T21" fmla="*/ 121 h 137"/>
                  <a:gd name="T22" fmla="*/ 16 w 137"/>
                  <a:gd name="T23" fmla="*/ 137 h 137"/>
                  <a:gd name="T24" fmla="*/ 122 w 137"/>
                  <a:gd name="T25" fmla="*/ 137 h 137"/>
                  <a:gd name="T26" fmla="*/ 137 w 137"/>
                  <a:gd name="T27" fmla="*/ 121 h 137"/>
                  <a:gd name="T28" fmla="*/ 137 w 137"/>
                  <a:gd name="T29" fmla="*/ 15 h 137"/>
                  <a:gd name="T30" fmla="*/ 122 w 137"/>
                  <a:gd name="T31"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7">
                    <a:moveTo>
                      <a:pt x="106" y="106"/>
                    </a:moveTo>
                    <a:lnTo>
                      <a:pt x="106" y="106"/>
                    </a:lnTo>
                    <a:lnTo>
                      <a:pt x="31" y="106"/>
                    </a:lnTo>
                    <a:lnTo>
                      <a:pt x="31" y="31"/>
                    </a:lnTo>
                    <a:lnTo>
                      <a:pt x="106" y="31"/>
                    </a:lnTo>
                    <a:lnTo>
                      <a:pt x="106" y="106"/>
                    </a:lnTo>
                    <a:close/>
                    <a:moveTo>
                      <a:pt x="122" y="0"/>
                    </a:moveTo>
                    <a:lnTo>
                      <a:pt x="122" y="0"/>
                    </a:lnTo>
                    <a:lnTo>
                      <a:pt x="16" y="0"/>
                    </a:lnTo>
                    <a:cubicBezTo>
                      <a:pt x="7" y="0"/>
                      <a:pt x="0" y="7"/>
                      <a:pt x="0" y="15"/>
                    </a:cubicBezTo>
                    <a:lnTo>
                      <a:pt x="0" y="121"/>
                    </a:lnTo>
                    <a:cubicBezTo>
                      <a:pt x="0" y="130"/>
                      <a:pt x="7" y="137"/>
                      <a:pt x="16" y="137"/>
                    </a:cubicBezTo>
                    <a:lnTo>
                      <a:pt x="122" y="137"/>
                    </a:lnTo>
                    <a:cubicBezTo>
                      <a:pt x="130" y="137"/>
                      <a:pt x="137" y="130"/>
                      <a:pt x="137" y="121"/>
                    </a:cubicBezTo>
                    <a:lnTo>
                      <a:pt x="137" y="15"/>
                    </a:lnTo>
                    <a:cubicBezTo>
                      <a:pt x="137" y="7"/>
                      <a:pt x="130" y="0"/>
                      <a:pt x="122"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47" name="Freeform 69">
                <a:extLst>
                  <a:ext uri="{FF2B5EF4-FFF2-40B4-BE49-F238E27FC236}">
                    <a16:creationId xmlns="" xmlns:a16="http://schemas.microsoft.com/office/drawing/2014/main" id="{9B0F5EED-4084-4BE6-74B8-F5F24A8CE8D5}"/>
                  </a:ext>
                </a:extLst>
              </p:cNvPr>
              <p:cNvSpPr>
                <a:spLocks noEditPoints="1"/>
              </p:cNvSpPr>
              <p:nvPr/>
            </p:nvSpPr>
            <p:spPr bwMode="auto">
              <a:xfrm>
                <a:off x="6913" y="1368"/>
                <a:ext cx="84" cy="84"/>
              </a:xfrm>
              <a:custGeom>
                <a:avLst/>
                <a:gdLst>
                  <a:gd name="T0" fmla="*/ 106 w 137"/>
                  <a:gd name="T1" fmla="*/ 106 h 137"/>
                  <a:gd name="T2" fmla="*/ 106 w 137"/>
                  <a:gd name="T3" fmla="*/ 106 h 137"/>
                  <a:gd name="T4" fmla="*/ 31 w 137"/>
                  <a:gd name="T5" fmla="*/ 106 h 137"/>
                  <a:gd name="T6" fmla="*/ 31 w 137"/>
                  <a:gd name="T7" fmla="*/ 31 h 137"/>
                  <a:gd name="T8" fmla="*/ 106 w 137"/>
                  <a:gd name="T9" fmla="*/ 31 h 137"/>
                  <a:gd name="T10" fmla="*/ 106 w 137"/>
                  <a:gd name="T11" fmla="*/ 106 h 137"/>
                  <a:gd name="T12" fmla="*/ 121 w 137"/>
                  <a:gd name="T13" fmla="*/ 0 h 137"/>
                  <a:gd name="T14" fmla="*/ 121 w 137"/>
                  <a:gd name="T15" fmla="*/ 0 h 137"/>
                  <a:gd name="T16" fmla="*/ 15 w 137"/>
                  <a:gd name="T17" fmla="*/ 0 h 137"/>
                  <a:gd name="T18" fmla="*/ 0 w 137"/>
                  <a:gd name="T19" fmla="*/ 16 h 137"/>
                  <a:gd name="T20" fmla="*/ 0 w 137"/>
                  <a:gd name="T21" fmla="*/ 122 h 137"/>
                  <a:gd name="T22" fmla="*/ 15 w 137"/>
                  <a:gd name="T23" fmla="*/ 137 h 137"/>
                  <a:gd name="T24" fmla="*/ 121 w 137"/>
                  <a:gd name="T25" fmla="*/ 137 h 137"/>
                  <a:gd name="T26" fmla="*/ 137 w 137"/>
                  <a:gd name="T27" fmla="*/ 122 h 137"/>
                  <a:gd name="T28" fmla="*/ 137 w 137"/>
                  <a:gd name="T29" fmla="*/ 16 h 137"/>
                  <a:gd name="T30" fmla="*/ 121 w 137"/>
                  <a:gd name="T31"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7">
                    <a:moveTo>
                      <a:pt x="106" y="106"/>
                    </a:moveTo>
                    <a:lnTo>
                      <a:pt x="106" y="106"/>
                    </a:lnTo>
                    <a:lnTo>
                      <a:pt x="31" y="106"/>
                    </a:lnTo>
                    <a:lnTo>
                      <a:pt x="31" y="31"/>
                    </a:lnTo>
                    <a:lnTo>
                      <a:pt x="106" y="31"/>
                    </a:lnTo>
                    <a:lnTo>
                      <a:pt x="106" y="106"/>
                    </a:lnTo>
                    <a:close/>
                    <a:moveTo>
                      <a:pt x="121" y="0"/>
                    </a:moveTo>
                    <a:lnTo>
                      <a:pt x="121" y="0"/>
                    </a:lnTo>
                    <a:lnTo>
                      <a:pt x="15" y="0"/>
                    </a:lnTo>
                    <a:cubicBezTo>
                      <a:pt x="7" y="0"/>
                      <a:pt x="0" y="7"/>
                      <a:pt x="0" y="16"/>
                    </a:cubicBezTo>
                    <a:lnTo>
                      <a:pt x="0" y="122"/>
                    </a:lnTo>
                    <a:cubicBezTo>
                      <a:pt x="0" y="130"/>
                      <a:pt x="7" y="137"/>
                      <a:pt x="15" y="137"/>
                    </a:cubicBezTo>
                    <a:lnTo>
                      <a:pt x="121" y="137"/>
                    </a:lnTo>
                    <a:cubicBezTo>
                      <a:pt x="130" y="137"/>
                      <a:pt x="137" y="130"/>
                      <a:pt x="137" y="122"/>
                    </a:cubicBezTo>
                    <a:lnTo>
                      <a:pt x="137" y="16"/>
                    </a:lnTo>
                    <a:cubicBezTo>
                      <a:pt x="137" y="7"/>
                      <a:pt x="130" y="0"/>
                      <a:pt x="121"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7DFF46"/>
                  </a:solidFill>
                  <a:effectLst/>
                  <a:uLnTx/>
                  <a:uFillTx/>
                  <a:latin typeface="ACHS Nueva Sans" pitchFamily="2" charset="0"/>
                </a:endParaRPr>
              </a:p>
            </p:txBody>
          </p:sp>
          <p:sp>
            <p:nvSpPr>
              <p:cNvPr id="48" name="Freeform 70">
                <a:extLst>
                  <a:ext uri="{FF2B5EF4-FFF2-40B4-BE49-F238E27FC236}">
                    <a16:creationId xmlns="" xmlns:a16="http://schemas.microsoft.com/office/drawing/2014/main" id="{5A05D8C6-0DA0-3831-3F53-2DC9064F64EF}"/>
                  </a:ext>
                </a:extLst>
              </p:cNvPr>
              <p:cNvSpPr>
                <a:spLocks noEditPoints="1"/>
              </p:cNvSpPr>
              <p:nvPr/>
            </p:nvSpPr>
            <p:spPr bwMode="auto">
              <a:xfrm>
                <a:off x="6913" y="1585"/>
                <a:ext cx="84" cy="83"/>
              </a:xfrm>
              <a:custGeom>
                <a:avLst/>
                <a:gdLst>
                  <a:gd name="T0" fmla="*/ 106 w 137"/>
                  <a:gd name="T1" fmla="*/ 106 h 136"/>
                  <a:gd name="T2" fmla="*/ 106 w 137"/>
                  <a:gd name="T3" fmla="*/ 106 h 136"/>
                  <a:gd name="T4" fmla="*/ 31 w 137"/>
                  <a:gd name="T5" fmla="*/ 106 h 136"/>
                  <a:gd name="T6" fmla="*/ 31 w 137"/>
                  <a:gd name="T7" fmla="*/ 30 h 136"/>
                  <a:gd name="T8" fmla="*/ 106 w 137"/>
                  <a:gd name="T9" fmla="*/ 30 h 136"/>
                  <a:gd name="T10" fmla="*/ 106 w 137"/>
                  <a:gd name="T11" fmla="*/ 106 h 136"/>
                  <a:gd name="T12" fmla="*/ 121 w 137"/>
                  <a:gd name="T13" fmla="*/ 0 h 136"/>
                  <a:gd name="T14" fmla="*/ 121 w 137"/>
                  <a:gd name="T15" fmla="*/ 0 h 136"/>
                  <a:gd name="T16" fmla="*/ 15 w 137"/>
                  <a:gd name="T17" fmla="*/ 0 h 136"/>
                  <a:gd name="T18" fmla="*/ 0 w 137"/>
                  <a:gd name="T19" fmla="*/ 15 h 136"/>
                  <a:gd name="T20" fmla="*/ 0 w 137"/>
                  <a:gd name="T21" fmla="*/ 121 h 136"/>
                  <a:gd name="T22" fmla="*/ 15 w 137"/>
                  <a:gd name="T23" fmla="*/ 136 h 136"/>
                  <a:gd name="T24" fmla="*/ 121 w 137"/>
                  <a:gd name="T25" fmla="*/ 136 h 136"/>
                  <a:gd name="T26" fmla="*/ 137 w 137"/>
                  <a:gd name="T27" fmla="*/ 121 h 136"/>
                  <a:gd name="T28" fmla="*/ 137 w 137"/>
                  <a:gd name="T29" fmla="*/ 15 h 136"/>
                  <a:gd name="T30" fmla="*/ 121 w 137"/>
                  <a:gd name="T3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6">
                    <a:moveTo>
                      <a:pt x="106" y="106"/>
                    </a:moveTo>
                    <a:lnTo>
                      <a:pt x="106" y="106"/>
                    </a:lnTo>
                    <a:lnTo>
                      <a:pt x="31" y="106"/>
                    </a:lnTo>
                    <a:lnTo>
                      <a:pt x="31" y="30"/>
                    </a:lnTo>
                    <a:lnTo>
                      <a:pt x="106" y="30"/>
                    </a:lnTo>
                    <a:lnTo>
                      <a:pt x="106" y="106"/>
                    </a:lnTo>
                    <a:close/>
                    <a:moveTo>
                      <a:pt x="121" y="0"/>
                    </a:moveTo>
                    <a:lnTo>
                      <a:pt x="121" y="0"/>
                    </a:lnTo>
                    <a:lnTo>
                      <a:pt x="15" y="0"/>
                    </a:lnTo>
                    <a:cubicBezTo>
                      <a:pt x="7" y="0"/>
                      <a:pt x="0" y="7"/>
                      <a:pt x="0" y="15"/>
                    </a:cubicBezTo>
                    <a:lnTo>
                      <a:pt x="0" y="121"/>
                    </a:lnTo>
                    <a:cubicBezTo>
                      <a:pt x="0" y="130"/>
                      <a:pt x="7" y="136"/>
                      <a:pt x="15" y="136"/>
                    </a:cubicBezTo>
                    <a:lnTo>
                      <a:pt x="121" y="136"/>
                    </a:lnTo>
                    <a:cubicBezTo>
                      <a:pt x="130" y="136"/>
                      <a:pt x="137" y="130"/>
                      <a:pt x="137" y="121"/>
                    </a:cubicBezTo>
                    <a:lnTo>
                      <a:pt x="137" y="15"/>
                    </a:lnTo>
                    <a:cubicBezTo>
                      <a:pt x="137" y="7"/>
                      <a:pt x="130" y="0"/>
                      <a:pt x="121"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49" name="Freeform 71">
                <a:extLst>
                  <a:ext uri="{FF2B5EF4-FFF2-40B4-BE49-F238E27FC236}">
                    <a16:creationId xmlns="" xmlns:a16="http://schemas.microsoft.com/office/drawing/2014/main" id="{ECBD85D0-C82A-3030-7532-D2C3A9EF9511}"/>
                  </a:ext>
                </a:extLst>
              </p:cNvPr>
              <p:cNvSpPr>
                <a:spLocks noEditPoints="1"/>
              </p:cNvSpPr>
              <p:nvPr/>
            </p:nvSpPr>
            <p:spPr bwMode="auto">
              <a:xfrm>
                <a:off x="6913" y="1477"/>
                <a:ext cx="84" cy="84"/>
              </a:xfrm>
              <a:custGeom>
                <a:avLst/>
                <a:gdLst>
                  <a:gd name="T0" fmla="*/ 106 w 137"/>
                  <a:gd name="T1" fmla="*/ 106 h 137"/>
                  <a:gd name="T2" fmla="*/ 106 w 137"/>
                  <a:gd name="T3" fmla="*/ 106 h 137"/>
                  <a:gd name="T4" fmla="*/ 31 w 137"/>
                  <a:gd name="T5" fmla="*/ 106 h 137"/>
                  <a:gd name="T6" fmla="*/ 31 w 137"/>
                  <a:gd name="T7" fmla="*/ 31 h 137"/>
                  <a:gd name="T8" fmla="*/ 106 w 137"/>
                  <a:gd name="T9" fmla="*/ 31 h 137"/>
                  <a:gd name="T10" fmla="*/ 106 w 137"/>
                  <a:gd name="T11" fmla="*/ 106 h 137"/>
                  <a:gd name="T12" fmla="*/ 121 w 137"/>
                  <a:gd name="T13" fmla="*/ 0 h 137"/>
                  <a:gd name="T14" fmla="*/ 121 w 137"/>
                  <a:gd name="T15" fmla="*/ 0 h 137"/>
                  <a:gd name="T16" fmla="*/ 15 w 137"/>
                  <a:gd name="T17" fmla="*/ 0 h 137"/>
                  <a:gd name="T18" fmla="*/ 0 w 137"/>
                  <a:gd name="T19" fmla="*/ 15 h 137"/>
                  <a:gd name="T20" fmla="*/ 0 w 137"/>
                  <a:gd name="T21" fmla="*/ 121 h 137"/>
                  <a:gd name="T22" fmla="*/ 15 w 137"/>
                  <a:gd name="T23" fmla="*/ 137 h 137"/>
                  <a:gd name="T24" fmla="*/ 121 w 137"/>
                  <a:gd name="T25" fmla="*/ 137 h 137"/>
                  <a:gd name="T26" fmla="*/ 137 w 137"/>
                  <a:gd name="T27" fmla="*/ 121 h 137"/>
                  <a:gd name="T28" fmla="*/ 137 w 137"/>
                  <a:gd name="T29" fmla="*/ 15 h 137"/>
                  <a:gd name="T30" fmla="*/ 121 w 137"/>
                  <a:gd name="T31"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7">
                    <a:moveTo>
                      <a:pt x="106" y="106"/>
                    </a:moveTo>
                    <a:lnTo>
                      <a:pt x="106" y="106"/>
                    </a:lnTo>
                    <a:lnTo>
                      <a:pt x="31" y="106"/>
                    </a:lnTo>
                    <a:lnTo>
                      <a:pt x="31" y="31"/>
                    </a:lnTo>
                    <a:lnTo>
                      <a:pt x="106" y="31"/>
                    </a:lnTo>
                    <a:lnTo>
                      <a:pt x="106" y="106"/>
                    </a:lnTo>
                    <a:close/>
                    <a:moveTo>
                      <a:pt x="121" y="0"/>
                    </a:moveTo>
                    <a:lnTo>
                      <a:pt x="121" y="0"/>
                    </a:lnTo>
                    <a:lnTo>
                      <a:pt x="15" y="0"/>
                    </a:lnTo>
                    <a:cubicBezTo>
                      <a:pt x="7" y="0"/>
                      <a:pt x="0" y="7"/>
                      <a:pt x="0" y="15"/>
                    </a:cubicBezTo>
                    <a:lnTo>
                      <a:pt x="0" y="121"/>
                    </a:lnTo>
                    <a:cubicBezTo>
                      <a:pt x="0" y="130"/>
                      <a:pt x="7" y="137"/>
                      <a:pt x="15" y="137"/>
                    </a:cubicBezTo>
                    <a:lnTo>
                      <a:pt x="121" y="137"/>
                    </a:lnTo>
                    <a:cubicBezTo>
                      <a:pt x="130" y="137"/>
                      <a:pt x="137" y="130"/>
                      <a:pt x="137" y="121"/>
                    </a:cubicBezTo>
                    <a:lnTo>
                      <a:pt x="137" y="15"/>
                    </a:lnTo>
                    <a:cubicBezTo>
                      <a:pt x="137" y="7"/>
                      <a:pt x="130" y="0"/>
                      <a:pt x="121"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50" name="Freeform 72">
                <a:extLst>
                  <a:ext uri="{FF2B5EF4-FFF2-40B4-BE49-F238E27FC236}">
                    <a16:creationId xmlns="" xmlns:a16="http://schemas.microsoft.com/office/drawing/2014/main" id="{D8069469-528C-9C38-464A-AD5CD952394B}"/>
                  </a:ext>
                </a:extLst>
              </p:cNvPr>
              <p:cNvSpPr>
                <a:spLocks noEditPoints="1"/>
              </p:cNvSpPr>
              <p:nvPr/>
            </p:nvSpPr>
            <p:spPr bwMode="auto">
              <a:xfrm>
                <a:off x="7022" y="1368"/>
                <a:ext cx="83" cy="84"/>
              </a:xfrm>
              <a:custGeom>
                <a:avLst/>
                <a:gdLst>
                  <a:gd name="T0" fmla="*/ 30 w 136"/>
                  <a:gd name="T1" fmla="*/ 31 h 137"/>
                  <a:gd name="T2" fmla="*/ 30 w 136"/>
                  <a:gd name="T3" fmla="*/ 31 h 137"/>
                  <a:gd name="T4" fmla="*/ 106 w 136"/>
                  <a:gd name="T5" fmla="*/ 31 h 137"/>
                  <a:gd name="T6" fmla="*/ 106 w 136"/>
                  <a:gd name="T7" fmla="*/ 106 h 137"/>
                  <a:gd name="T8" fmla="*/ 30 w 136"/>
                  <a:gd name="T9" fmla="*/ 106 h 137"/>
                  <a:gd name="T10" fmla="*/ 30 w 136"/>
                  <a:gd name="T11" fmla="*/ 31 h 137"/>
                  <a:gd name="T12" fmla="*/ 0 w 136"/>
                  <a:gd name="T13" fmla="*/ 122 h 137"/>
                  <a:gd name="T14" fmla="*/ 0 w 136"/>
                  <a:gd name="T15" fmla="*/ 122 h 137"/>
                  <a:gd name="T16" fmla="*/ 15 w 136"/>
                  <a:gd name="T17" fmla="*/ 137 h 137"/>
                  <a:gd name="T18" fmla="*/ 121 w 136"/>
                  <a:gd name="T19" fmla="*/ 137 h 137"/>
                  <a:gd name="T20" fmla="*/ 136 w 136"/>
                  <a:gd name="T21" fmla="*/ 122 h 137"/>
                  <a:gd name="T22" fmla="*/ 136 w 136"/>
                  <a:gd name="T23" fmla="*/ 16 h 137"/>
                  <a:gd name="T24" fmla="*/ 121 w 136"/>
                  <a:gd name="T25" fmla="*/ 0 h 137"/>
                  <a:gd name="T26" fmla="*/ 15 w 136"/>
                  <a:gd name="T27" fmla="*/ 0 h 137"/>
                  <a:gd name="T28" fmla="*/ 0 w 136"/>
                  <a:gd name="T29" fmla="*/ 16 h 137"/>
                  <a:gd name="T30" fmla="*/ 0 w 136"/>
                  <a:gd name="T31" fmla="*/ 12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7">
                    <a:moveTo>
                      <a:pt x="30" y="31"/>
                    </a:moveTo>
                    <a:lnTo>
                      <a:pt x="30" y="31"/>
                    </a:lnTo>
                    <a:lnTo>
                      <a:pt x="106" y="31"/>
                    </a:lnTo>
                    <a:lnTo>
                      <a:pt x="106" y="106"/>
                    </a:lnTo>
                    <a:lnTo>
                      <a:pt x="30" y="106"/>
                    </a:lnTo>
                    <a:lnTo>
                      <a:pt x="30" y="31"/>
                    </a:lnTo>
                    <a:close/>
                    <a:moveTo>
                      <a:pt x="0" y="122"/>
                    </a:moveTo>
                    <a:lnTo>
                      <a:pt x="0" y="122"/>
                    </a:lnTo>
                    <a:cubicBezTo>
                      <a:pt x="0" y="130"/>
                      <a:pt x="7" y="137"/>
                      <a:pt x="15" y="137"/>
                    </a:cubicBezTo>
                    <a:lnTo>
                      <a:pt x="121" y="137"/>
                    </a:lnTo>
                    <a:cubicBezTo>
                      <a:pt x="129" y="137"/>
                      <a:pt x="136" y="130"/>
                      <a:pt x="136" y="122"/>
                    </a:cubicBezTo>
                    <a:lnTo>
                      <a:pt x="136" y="16"/>
                    </a:lnTo>
                    <a:cubicBezTo>
                      <a:pt x="136" y="7"/>
                      <a:pt x="129" y="0"/>
                      <a:pt x="121" y="0"/>
                    </a:cubicBezTo>
                    <a:lnTo>
                      <a:pt x="15" y="0"/>
                    </a:lnTo>
                    <a:cubicBezTo>
                      <a:pt x="7" y="0"/>
                      <a:pt x="0" y="7"/>
                      <a:pt x="0" y="16"/>
                    </a:cubicBezTo>
                    <a:lnTo>
                      <a:pt x="0" y="122"/>
                    </a:ln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51" name="Freeform 73">
                <a:extLst>
                  <a:ext uri="{FF2B5EF4-FFF2-40B4-BE49-F238E27FC236}">
                    <a16:creationId xmlns="" xmlns:a16="http://schemas.microsoft.com/office/drawing/2014/main" id="{FD28316C-94CE-34CF-903D-01A39504A6EB}"/>
                  </a:ext>
                </a:extLst>
              </p:cNvPr>
              <p:cNvSpPr>
                <a:spLocks noEditPoints="1"/>
              </p:cNvSpPr>
              <p:nvPr/>
            </p:nvSpPr>
            <p:spPr bwMode="auto">
              <a:xfrm>
                <a:off x="7022" y="1477"/>
                <a:ext cx="83" cy="84"/>
              </a:xfrm>
              <a:custGeom>
                <a:avLst/>
                <a:gdLst>
                  <a:gd name="T0" fmla="*/ 30 w 136"/>
                  <a:gd name="T1" fmla="*/ 31 h 137"/>
                  <a:gd name="T2" fmla="*/ 30 w 136"/>
                  <a:gd name="T3" fmla="*/ 31 h 137"/>
                  <a:gd name="T4" fmla="*/ 106 w 136"/>
                  <a:gd name="T5" fmla="*/ 31 h 137"/>
                  <a:gd name="T6" fmla="*/ 106 w 136"/>
                  <a:gd name="T7" fmla="*/ 106 h 137"/>
                  <a:gd name="T8" fmla="*/ 30 w 136"/>
                  <a:gd name="T9" fmla="*/ 106 h 137"/>
                  <a:gd name="T10" fmla="*/ 30 w 136"/>
                  <a:gd name="T11" fmla="*/ 31 h 137"/>
                  <a:gd name="T12" fmla="*/ 0 w 136"/>
                  <a:gd name="T13" fmla="*/ 121 h 137"/>
                  <a:gd name="T14" fmla="*/ 0 w 136"/>
                  <a:gd name="T15" fmla="*/ 121 h 137"/>
                  <a:gd name="T16" fmla="*/ 15 w 136"/>
                  <a:gd name="T17" fmla="*/ 137 h 137"/>
                  <a:gd name="T18" fmla="*/ 121 w 136"/>
                  <a:gd name="T19" fmla="*/ 137 h 137"/>
                  <a:gd name="T20" fmla="*/ 136 w 136"/>
                  <a:gd name="T21" fmla="*/ 121 h 137"/>
                  <a:gd name="T22" fmla="*/ 136 w 136"/>
                  <a:gd name="T23" fmla="*/ 15 h 137"/>
                  <a:gd name="T24" fmla="*/ 121 w 136"/>
                  <a:gd name="T25" fmla="*/ 0 h 137"/>
                  <a:gd name="T26" fmla="*/ 15 w 136"/>
                  <a:gd name="T27" fmla="*/ 0 h 137"/>
                  <a:gd name="T28" fmla="*/ 0 w 136"/>
                  <a:gd name="T29" fmla="*/ 15 h 137"/>
                  <a:gd name="T30" fmla="*/ 0 w 136"/>
                  <a:gd name="T31" fmla="*/ 12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7">
                    <a:moveTo>
                      <a:pt x="30" y="31"/>
                    </a:moveTo>
                    <a:lnTo>
                      <a:pt x="30" y="31"/>
                    </a:lnTo>
                    <a:lnTo>
                      <a:pt x="106" y="31"/>
                    </a:lnTo>
                    <a:lnTo>
                      <a:pt x="106" y="106"/>
                    </a:lnTo>
                    <a:lnTo>
                      <a:pt x="30" y="106"/>
                    </a:lnTo>
                    <a:lnTo>
                      <a:pt x="30" y="31"/>
                    </a:lnTo>
                    <a:close/>
                    <a:moveTo>
                      <a:pt x="0" y="121"/>
                    </a:moveTo>
                    <a:lnTo>
                      <a:pt x="0" y="121"/>
                    </a:lnTo>
                    <a:cubicBezTo>
                      <a:pt x="0" y="130"/>
                      <a:pt x="7" y="137"/>
                      <a:pt x="15" y="137"/>
                    </a:cubicBezTo>
                    <a:lnTo>
                      <a:pt x="121" y="137"/>
                    </a:lnTo>
                    <a:cubicBezTo>
                      <a:pt x="129" y="137"/>
                      <a:pt x="136" y="130"/>
                      <a:pt x="136" y="121"/>
                    </a:cubicBezTo>
                    <a:lnTo>
                      <a:pt x="136" y="15"/>
                    </a:lnTo>
                    <a:cubicBezTo>
                      <a:pt x="136" y="7"/>
                      <a:pt x="129" y="0"/>
                      <a:pt x="121" y="0"/>
                    </a:cubicBezTo>
                    <a:lnTo>
                      <a:pt x="15" y="0"/>
                    </a:lnTo>
                    <a:cubicBezTo>
                      <a:pt x="7" y="0"/>
                      <a:pt x="0" y="7"/>
                      <a:pt x="0" y="15"/>
                    </a:cubicBezTo>
                    <a:lnTo>
                      <a:pt x="0" y="121"/>
                    </a:ln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52" name="Freeform 74">
                <a:extLst>
                  <a:ext uri="{FF2B5EF4-FFF2-40B4-BE49-F238E27FC236}">
                    <a16:creationId xmlns="" xmlns:a16="http://schemas.microsoft.com/office/drawing/2014/main" id="{F7423CE1-424C-BBFB-3D58-C56523FFDD9B}"/>
                  </a:ext>
                </a:extLst>
              </p:cNvPr>
              <p:cNvSpPr>
                <a:spLocks noEditPoints="1"/>
              </p:cNvSpPr>
              <p:nvPr/>
            </p:nvSpPr>
            <p:spPr bwMode="auto">
              <a:xfrm>
                <a:off x="7130" y="1585"/>
                <a:ext cx="84" cy="83"/>
              </a:xfrm>
              <a:custGeom>
                <a:avLst/>
                <a:gdLst>
                  <a:gd name="T0" fmla="*/ 106 w 137"/>
                  <a:gd name="T1" fmla="*/ 106 h 136"/>
                  <a:gd name="T2" fmla="*/ 106 w 137"/>
                  <a:gd name="T3" fmla="*/ 106 h 136"/>
                  <a:gd name="T4" fmla="*/ 31 w 137"/>
                  <a:gd name="T5" fmla="*/ 106 h 136"/>
                  <a:gd name="T6" fmla="*/ 31 w 137"/>
                  <a:gd name="T7" fmla="*/ 30 h 136"/>
                  <a:gd name="T8" fmla="*/ 106 w 137"/>
                  <a:gd name="T9" fmla="*/ 30 h 136"/>
                  <a:gd name="T10" fmla="*/ 106 w 137"/>
                  <a:gd name="T11" fmla="*/ 106 h 136"/>
                  <a:gd name="T12" fmla="*/ 122 w 137"/>
                  <a:gd name="T13" fmla="*/ 0 h 136"/>
                  <a:gd name="T14" fmla="*/ 122 w 137"/>
                  <a:gd name="T15" fmla="*/ 0 h 136"/>
                  <a:gd name="T16" fmla="*/ 16 w 137"/>
                  <a:gd name="T17" fmla="*/ 0 h 136"/>
                  <a:gd name="T18" fmla="*/ 0 w 137"/>
                  <a:gd name="T19" fmla="*/ 15 h 136"/>
                  <a:gd name="T20" fmla="*/ 0 w 137"/>
                  <a:gd name="T21" fmla="*/ 121 h 136"/>
                  <a:gd name="T22" fmla="*/ 16 w 137"/>
                  <a:gd name="T23" fmla="*/ 136 h 136"/>
                  <a:gd name="T24" fmla="*/ 122 w 137"/>
                  <a:gd name="T25" fmla="*/ 136 h 136"/>
                  <a:gd name="T26" fmla="*/ 137 w 137"/>
                  <a:gd name="T27" fmla="*/ 121 h 136"/>
                  <a:gd name="T28" fmla="*/ 137 w 137"/>
                  <a:gd name="T29" fmla="*/ 15 h 136"/>
                  <a:gd name="T30" fmla="*/ 122 w 137"/>
                  <a:gd name="T3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36">
                    <a:moveTo>
                      <a:pt x="106" y="106"/>
                    </a:moveTo>
                    <a:lnTo>
                      <a:pt x="106" y="106"/>
                    </a:lnTo>
                    <a:lnTo>
                      <a:pt x="31" y="106"/>
                    </a:lnTo>
                    <a:lnTo>
                      <a:pt x="31" y="30"/>
                    </a:lnTo>
                    <a:lnTo>
                      <a:pt x="106" y="30"/>
                    </a:lnTo>
                    <a:lnTo>
                      <a:pt x="106" y="106"/>
                    </a:lnTo>
                    <a:close/>
                    <a:moveTo>
                      <a:pt x="122" y="0"/>
                    </a:moveTo>
                    <a:lnTo>
                      <a:pt x="122" y="0"/>
                    </a:lnTo>
                    <a:lnTo>
                      <a:pt x="16" y="0"/>
                    </a:lnTo>
                    <a:cubicBezTo>
                      <a:pt x="7" y="0"/>
                      <a:pt x="0" y="7"/>
                      <a:pt x="0" y="15"/>
                    </a:cubicBezTo>
                    <a:lnTo>
                      <a:pt x="0" y="121"/>
                    </a:lnTo>
                    <a:cubicBezTo>
                      <a:pt x="0" y="130"/>
                      <a:pt x="7" y="136"/>
                      <a:pt x="16" y="136"/>
                    </a:cubicBezTo>
                    <a:lnTo>
                      <a:pt x="122" y="136"/>
                    </a:lnTo>
                    <a:cubicBezTo>
                      <a:pt x="130" y="136"/>
                      <a:pt x="137" y="130"/>
                      <a:pt x="137" y="121"/>
                    </a:cubicBezTo>
                    <a:lnTo>
                      <a:pt x="137" y="15"/>
                    </a:lnTo>
                    <a:cubicBezTo>
                      <a:pt x="137" y="7"/>
                      <a:pt x="130" y="0"/>
                      <a:pt x="122" y="0"/>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000000"/>
                  </a:solidFill>
                  <a:effectLst/>
                  <a:uLnTx/>
                  <a:uFillTx/>
                  <a:latin typeface="ACHS Nueva Sans" pitchFamily="2" charset="0"/>
                </a:endParaRPr>
              </a:p>
            </p:txBody>
          </p:sp>
          <p:sp>
            <p:nvSpPr>
              <p:cNvPr id="53" name="Freeform 75">
                <a:extLst>
                  <a:ext uri="{FF2B5EF4-FFF2-40B4-BE49-F238E27FC236}">
                    <a16:creationId xmlns="" xmlns:a16="http://schemas.microsoft.com/office/drawing/2014/main" id="{A22989B4-4EF6-9B87-5BB0-F0A81CBB5BFD}"/>
                  </a:ext>
                </a:extLst>
              </p:cNvPr>
              <p:cNvSpPr>
                <a:spLocks noEditPoints="1"/>
              </p:cNvSpPr>
              <p:nvPr/>
            </p:nvSpPr>
            <p:spPr bwMode="auto">
              <a:xfrm>
                <a:off x="6827" y="1260"/>
                <a:ext cx="474" cy="473"/>
              </a:xfrm>
              <a:custGeom>
                <a:avLst/>
                <a:gdLst>
                  <a:gd name="T0" fmla="*/ 65 w 773"/>
                  <a:gd name="T1" fmla="*/ 101 h 772"/>
                  <a:gd name="T2" fmla="*/ 65 w 773"/>
                  <a:gd name="T3" fmla="*/ 101 h 772"/>
                  <a:gd name="T4" fmla="*/ 707 w 773"/>
                  <a:gd name="T5" fmla="*/ 101 h 772"/>
                  <a:gd name="T6" fmla="*/ 707 w 773"/>
                  <a:gd name="T7" fmla="*/ 742 h 772"/>
                  <a:gd name="T8" fmla="*/ 454 w 773"/>
                  <a:gd name="T9" fmla="*/ 742 h 772"/>
                  <a:gd name="T10" fmla="*/ 454 w 773"/>
                  <a:gd name="T11" fmla="*/ 545 h 772"/>
                  <a:gd name="T12" fmla="*/ 439 w 773"/>
                  <a:gd name="T13" fmla="*/ 530 h 772"/>
                  <a:gd name="T14" fmla="*/ 333 w 773"/>
                  <a:gd name="T15" fmla="*/ 530 h 772"/>
                  <a:gd name="T16" fmla="*/ 318 w 773"/>
                  <a:gd name="T17" fmla="*/ 545 h 772"/>
                  <a:gd name="T18" fmla="*/ 318 w 773"/>
                  <a:gd name="T19" fmla="*/ 742 h 772"/>
                  <a:gd name="T20" fmla="*/ 65 w 773"/>
                  <a:gd name="T21" fmla="*/ 742 h 772"/>
                  <a:gd name="T22" fmla="*/ 65 w 773"/>
                  <a:gd name="T23" fmla="*/ 101 h 772"/>
                  <a:gd name="T24" fmla="*/ 65 w 773"/>
                  <a:gd name="T25" fmla="*/ 30 h 772"/>
                  <a:gd name="T26" fmla="*/ 65 w 773"/>
                  <a:gd name="T27" fmla="*/ 30 h 772"/>
                  <a:gd name="T28" fmla="*/ 707 w 773"/>
                  <a:gd name="T29" fmla="*/ 30 h 772"/>
                  <a:gd name="T30" fmla="*/ 707 w 773"/>
                  <a:gd name="T31" fmla="*/ 70 h 772"/>
                  <a:gd name="T32" fmla="*/ 65 w 773"/>
                  <a:gd name="T33" fmla="*/ 70 h 772"/>
                  <a:gd name="T34" fmla="*/ 65 w 773"/>
                  <a:gd name="T35" fmla="*/ 30 h 772"/>
                  <a:gd name="T36" fmla="*/ 424 w 773"/>
                  <a:gd name="T37" fmla="*/ 742 h 772"/>
                  <a:gd name="T38" fmla="*/ 424 w 773"/>
                  <a:gd name="T39" fmla="*/ 742 h 772"/>
                  <a:gd name="T40" fmla="*/ 348 w 773"/>
                  <a:gd name="T41" fmla="*/ 742 h 772"/>
                  <a:gd name="T42" fmla="*/ 348 w 773"/>
                  <a:gd name="T43" fmla="*/ 560 h 772"/>
                  <a:gd name="T44" fmla="*/ 424 w 773"/>
                  <a:gd name="T45" fmla="*/ 560 h 772"/>
                  <a:gd name="T46" fmla="*/ 424 w 773"/>
                  <a:gd name="T47" fmla="*/ 742 h 772"/>
                  <a:gd name="T48" fmla="*/ 50 w 773"/>
                  <a:gd name="T49" fmla="*/ 772 h 772"/>
                  <a:gd name="T50" fmla="*/ 50 w 773"/>
                  <a:gd name="T51" fmla="*/ 772 h 772"/>
                  <a:gd name="T52" fmla="*/ 722 w 773"/>
                  <a:gd name="T53" fmla="*/ 772 h 772"/>
                  <a:gd name="T54" fmla="*/ 737 w 773"/>
                  <a:gd name="T55" fmla="*/ 757 h 772"/>
                  <a:gd name="T56" fmla="*/ 737 w 773"/>
                  <a:gd name="T57" fmla="*/ 101 h 772"/>
                  <a:gd name="T58" fmla="*/ 757 w 773"/>
                  <a:gd name="T59" fmla="*/ 101 h 772"/>
                  <a:gd name="T60" fmla="*/ 773 w 773"/>
                  <a:gd name="T61" fmla="*/ 85 h 772"/>
                  <a:gd name="T62" fmla="*/ 757 w 773"/>
                  <a:gd name="T63" fmla="*/ 70 h 772"/>
                  <a:gd name="T64" fmla="*/ 737 w 773"/>
                  <a:gd name="T65" fmla="*/ 70 h 772"/>
                  <a:gd name="T66" fmla="*/ 737 w 773"/>
                  <a:gd name="T67" fmla="*/ 15 h 772"/>
                  <a:gd name="T68" fmla="*/ 722 w 773"/>
                  <a:gd name="T69" fmla="*/ 0 h 772"/>
                  <a:gd name="T70" fmla="*/ 50 w 773"/>
                  <a:gd name="T71" fmla="*/ 0 h 772"/>
                  <a:gd name="T72" fmla="*/ 35 w 773"/>
                  <a:gd name="T73" fmla="*/ 15 h 772"/>
                  <a:gd name="T74" fmla="*/ 35 w 773"/>
                  <a:gd name="T75" fmla="*/ 70 h 772"/>
                  <a:gd name="T76" fmla="*/ 15 w 773"/>
                  <a:gd name="T77" fmla="*/ 70 h 772"/>
                  <a:gd name="T78" fmla="*/ 0 w 773"/>
                  <a:gd name="T79" fmla="*/ 85 h 772"/>
                  <a:gd name="T80" fmla="*/ 15 w 773"/>
                  <a:gd name="T81" fmla="*/ 101 h 772"/>
                  <a:gd name="T82" fmla="*/ 35 w 773"/>
                  <a:gd name="T83" fmla="*/ 101 h 772"/>
                  <a:gd name="T84" fmla="*/ 35 w 773"/>
                  <a:gd name="T85" fmla="*/ 757 h 772"/>
                  <a:gd name="T86" fmla="*/ 50 w 773"/>
                  <a:gd name="T8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3" h="772">
                    <a:moveTo>
                      <a:pt x="65" y="101"/>
                    </a:moveTo>
                    <a:lnTo>
                      <a:pt x="65" y="101"/>
                    </a:lnTo>
                    <a:lnTo>
                      <a:pt x="707" y="101"/>
                    </a:lnTo>
                    <a:lnTo>
                      <a:pt x="707" y="742"/>
                    </a:lnTo>
                    <a:lnTo>
                      <a:pt x="454" y="742"/>
                    </a:lnTo>
                    <a:lnTo>
                      <a:pt x="454" y="545"/>
                    </a:lnTo>
                    <a:cubicBezTo>
                      <a:pt x="454" y="537"/>
                      <a:pt x="447" y="530"/>
                      <a:pt x="439" y="530"/>
                    </a:cubicBezTo>
                    <a:lnTo>
                      <a:pt x="333" y="530"/>
                    </a:lnTo>
                    <a:cubicBezTo>
                      <a:pt x="325" y="530"/>
                      <a:pt x="318" y="537"/>
                      <a:pt x="318" y="545"/>
                    </a:cubicBezTo>
                    <a:lnTo>
                      <a:pt x="318" y="742"/>
                    </a:lnTo>
                    <a:lnTo>
                      <a:pt x="65" y="742"/>
                    </a:lnTo>
                    <a:lnTo>
                      <a:pt x="65" y="101"/>
                    </a:lnTo>
                    <a:close/>
                    <a:moveTo>
                      <a:pt x="65" y="30"/>
                    </a:moveTo>
                    <a:lnTo>
                      <a:pt x="65" y="30"/>
                    </a:lnTo>
                    <a:lnTo>
                      <a:pt x="707" y="30"/>
                    </a:lnTo>
                    <a:lnTo>
                      <a:pt x="707" y="70"/>
                    </a:lnTo>
                    <a:lnTo>
                      <a:pt x="65" y="70"/>
                    </a:lnTo>
                    <a:lnTo>
                      <a:pt x="65" y="30"/>
                    </a:lnTo>
                    <a:close/>
                    <a:moveTo>
                      <a:pt x="424" y="742"/>
                    </a:moveTo>
                    <a:lnTo>
                      <a:pt x="424" y="742"/>
                    </a:lnTo>
                    <a:lnTo>
                      <a:pt x="348" y="742"/>
                    </a:lnTo>
                    <a:lnTo>
                      <a:pt x="348" y="560"/>
                    </a:lnTo>
                    <a:lnTo>
                      <a:pt x="424" y="560"/>
                    </a:lnTo>
                    <a:lnTo>
                      <a:pt x="424" y="742"/>
                    </a:lnTo>
                    <a:close/>
                    <a:moveTo>
                      <a:pt x="50" y="772"/>
                    </a:moveTo>
                    <a:lnTo>
                      <a:pt x="50" y="772"/>
                    </a:lnTo>
                    <a:lnTo>
                      <a:pt x="722" y="772"/>
                    </a:lnTo>
                    <a:cubicBezTo>
                      <a:pt x="730" y="772"/>
                      <a:pt x="737" y="766"/>
                      <a:pt x="737" y="757"/>
                    </a:cubicBezTo>
                    <a:lnTo>
                      <a:pt x="737" y="101"/>
                    </a:lnTo>
                    <a:lnTo>
                      <a:pt x="757" y="101"/>
                    </a:lnTo>
                    <a:cubicBezTo>
                      <a:pt x="766" y="101"/>
                      <a:pt x="773" y="94"/>
                      <a:pt x="773" y="85"/>
                    </a:cubicBezTo>
                    <a:cubicBezTo>
                      <a:pt x="773" y="77"/>
                      <a:pt x="766" y="70"/>
                      <a:pt x="757" y="70"/>
                    </a:cubicBezTo>
                    <a:lnTo>
                      <a:pt x="737" y="70"/>
                    </a:lnTo>
                    <a:lnTo>
                      <a:pt x="737" y="15"/>
                    </a:lnTo>
                    <a:cubicBezTo>
                      <a:pt x="737" y="6"/>
                      <a:pt x="730" y="0"/>
                      <a:pt x="722" y="0"/>
                    </a:cubicBezTo>
                    <a:lnTo>
                      <a:pt x="50" y="0"/>
                    </a:lnTo>
                    <a:cubicBezTo>
                      <a:pt x="42" y="0"/>
                      <a:pt x="35" y="6"/>
                      <a:pt x="35" y="15"/>
                    </a:cubicBezTo>
                    <a:lnTo>
                      <a:pt x="35" y="70"/>
                    </a:lnTo>
                    <a:lnTo>
                      <a:pt x="15" y="70"/>
                    </a:lnTo>
                    <a:cubicBezTo>
                      <a:pt x="6" y="70"/>
                      <a:pt x="0" y="77"/>
                      <a:pt x="0" y="85"/>
                    </a:cubicBezTo>
                    <a:cubicBezTo>
                      <a:pt x="0" y="94"/>
                      <a:pt x="6" y="101"/>
                      <a:pt x="15" y="101"/>
                    </a:cubicBezTo>
                    <a:lnTo>
                      <a:pt x="35" y="101"/>
                    </a:lnTo>
                    <a:lnTo>
                      <a:pt x="35" y="757"/>
                    </a:lnTo>
                    <a:cubicBezTo>
                      <a:pt x="35" y="766"/>
                      <a:pt x="42" y="772"/>
                      <a:pt x="50" y="772"/>
                    </a:cubicBezTo>
                    <a:close/>
                  </a:path>
                </a:pathLst>
              </a:custGeom>
              <a:solidFill>
                <a:srgbClr val="7DFF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srgbClr val="7DFF46"/>
                  </a:solidFill>
                  <a:effectLst/>
                  <a:uLnTx/>
                  <a:uFillTx/>
                  <a:latin typeface="ACHS Nueva Sans" pitchFamily="2" charset="0"/>
                </a:endParaRPr>
              </a:p>
            </p:txBody>
          </p:sp>
        </p:grpSp>
      </p:grpSp>
      <p:cxnSp>
        <p:nvCxnSpPr>
          <p:cNvPr id="54" name="Conector angular 53"/>
          <p:cNvCxnSpPr>
            <a:stCxn id="58" idx="4"/>
            <a:endCxn id="39" idx="1"/>
          </p:cNvCxnSpPr>
          <p:nvPr/>
        </p:nvCxnSpPr>
        <p:spPr>
          <a:xfrm rot="16200000" flipH="1">
            <a:off x="6679753" y="3447648"/>
            <a:ext cx="1814798" cy="420324"/>
          </a:xfrm>
          <a:prstGeom prst="bentConnector2">
            <a:avLst/>
          </a:prstGeom>
          <a:noFill/>
          <a:ln w="19050" cap="flat" cmpd="sng" algn="ctr">
            <a:solidFill>
              <a:srgbClr val="7DFF46"/>
            </a:solidFill>
            <a:prstDash val="dash"/>
            <a:miter lim="800000"/>
            <a:tailEnd type="triangle"/>
          </a:ln>
          <a:effectLst/>
        </p:spPr>
      </p:cxnSp>
      <p:cxnSp>
        <p:nvCxnSpPr>
          <p:cNvPr id="55" name="Conector angular 54"/>
          <p:cNvCxnSpPr>
            <a:endCxn id="42" idx="1"/>
          </p:cNvCxnSpPr>
          <p:nvPr/>
        </p:nvCxnSpPr>
        <p:spPr>
          <a:xfrm rot="16200000" flipH="1">
            <a:off x="6638027" y="5176071"/>
            <a:ext cx="1840889" cy="362964"/>
          </a:xfrm>
          <a:prstGeom prst="bentConnector2">
            <a:avLst/>
          </a:prstGeom>
          <a:noFill/>
          <a:ln w="19050" cap="flat" cmpd="sng" algn="ctr">
            <a:solidFill>
              <a:srgbClr val="7DFF46"/>
            </a:solidFill>
            <a:prstDash val="dash"/>
            <a:miter lim="800000"/>
            <a:tailEnd type="triangle"/>
          </a:ln>
          <a:effectLst/>
        </p:spPr>
      </p:cxnSp>
      <p:grpSp>
        <p:nvGrpSpPr>
          <p:cNvPr id="56" name="Grupo 55"/>
          <p:cNvGrpSpPr/>
          <p:nvPr/>
        </p:nvGrpSpPr>
        <p:grpSpPr>
          <a:xfrm>
            <a:off x="7106990" y="2210411"/>
            <a:ext cx="4663654" cy="989405"/>
            <a:chOff x="7106990" y="2210411"/>
            <a:chExt cx="4663654" cy="989405"/>
          </a:xfrm>
        </p:grpSpPr>
        <p:sp>
          <p:nvSpPr>
            <p:cNvPr id="57" name="Rectángulo 56"/>
            <p:cNvSpPr/>
            <p:nvPr/>
          </p:nvSpPr>
          <p:spPr>
            <a:xfrm>
              <a:off x="7739954" y="2553485"/>
              <a:ext cx="4030690"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srgbClr val="000000"/>
                  </a:solidFill>
                  <a:effectLst/>
                  <a:uLnTx/>
                  <a:uFillTx/>
                  <a:latin typeface="ACHS Nueva Sans" pitchFamily="2" charset="0"/>
                </a:rPr>
                <a:t>Departamento de prevención de riesgos </a:t>
              </a:r>
              <a:r>
                <a:rPr kumimoji="0" lang="es-MX" sz="1200" b="0" i="0" u="none" strike="noStrike" kern="0" cap="none" spc="0" normalizeH="0" baseline="0" noProof="0" dirty="0">
                  <a:ln>
                    <a:noFill/>
                  </a:ln>
                  <a:solidFill>
                    <a:srgbClr val="000000"/>
                  </a:solidFill>
                  <a:effectLst/>
                  <a:uLnTx/>
                  <a:uFillTx/>
                  <a:latin typeface="ACHS Nueva Sans" pitchFamily="2" charset="0"/>
                </a:rPr>
                <a:t>para entidades empleadoras que tengan más de 100 personas trabajadoras</a:t>
              </a:r>
            </a:p>
          </p:txBody>
        </p:sp>
        <p:sp>
          <p:nvSpPr>
            <p:cNvPr id="58" name="Elipse 57"/>
            <p:cNvSpPr/>
            <p:nvPr/>
          </p:nvSpPr>
          <p:spPr>
            <a:xfrm>
              <a:off x="7106990" y="2210411"/>
              <a:ext cx="540000" cy="540000"/>
            </a:xfrm>
            <a:prstGeom prst="ellipse">
              <a:avLst/>
            </a:prstGeom>
            <a:solidFill>
              <a:srgbClr val="7DFF46"/>
            </a:solidFill>
            <a:ln w="12700" cap="flat" cmpd="sng" algn="ctr">
              <a:solidFill>
                <a:srgbClr val="7DFF46"/>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sp>
          <p:nvSpPr>
            <p:cNvPr id="59" name="Freeform 166">
              <a:extLst>
                <a:ext uri="{FF2B5EF4-FFF2-40B4-BE49-F238E27FC236}">
                  <a16:creationId xmlns="" xmlns:a16="http://schemas.microsoft.com/office/drawing/2014/main" id="{8E10D62E-9505-C415-883A-6F3016CC23EC}"/>
                </a:ext>
              </a:extLst>
            </p:cNvPr>
            <p:cNvSpPr>
              <a:spLocks noEditPoints="1"/>
            </p:cNvSpPr>
            <p:nvPr/>
          </p:nvSpPr>
          <p:spPr bwMode="auto">
            <a:xfrm>
              <a:off x="7179011" y="2253893"/>
              <a:ext cx="394096" cy="388168"/>
            </a:xfrm>
            <a:custGeom>
              <a:avLst/>
              <a:gdLst>
                <a:gd name="T0" fmla="*/ 532 w 809"/>
                <a:gd name="T1" fmla="*/ 747 h 781"/>
                <a:gd name="T2" fmla="*/ 642 w 809"/>
                <a:gd name="T3" fmla="*/ 686 h 781"/>
                <a:gd name="T4" fmla="*/ 776 w 809"/>
                <a:gd name="T5" fmla="*/ 716 h 781"/>
                <a:gd name="T6" fmla="*/ 404 w 809"/>
                <a:gd name="T7" fmla="*/ 566 h 781"/>
                <a:gd name="T8" fmla="*/ 475 w 809"/>
                <a:gd name="T9" fmla="*/ 496 h 781"/>
                <a:gd name="T10" fmla="*/ 283 w 809"/>
                <a:gd name="T11" fmla="*/ 271 h 781"/>
                <a:gd name="T12" fmla="*/ 416 w 809"/>
                <a:gd name="T13" fmla="*/ 241 h 781"/>
                <a:gd name="T14" fmla="*/ 526 w 809"/>
                <a:gd name="T15" fmla="*/ 303 h 781"/>
                <a:gd name="T16" fmla="*/ 416 w 809"/>
                <a:gd name="T17" fmla="*/ 195 h 781"/>
                <a:gd name="T18" fmla="*/ 393 w 809"/>
                <a:gd name="T19" fmla="*/ 195 h 781"/>
                <a:gd name="T20" fmla="*/ 360 w 809"/>
                <a:gd name="T21" fmla="*/ 105 h 781"/>
                <a:gd name="T22" fmla="*/ 449 w 809"/>
                <a:gd name="T23" fmla="*/ 117 h 781"/>
                <a:gd name="T24" fmla="*/ 360 w 809"/>
                <a:gd name="T25" fmla="*/ 105 h 781"/>
                <a:gd name="T26" fmla="*/ 390 w 809"/>
                <a:gd name="T27" fmla="*/ 32 h 781"/>
                <a:gd name="T28" fmla="*/ 430 w 809"/>
                <a:gd name="T29" fmla="*/ 72 h 781"/>
                <a:gd name="T30" fmla="*/ 666 w 809"/>
                <a:gd name="T31" fmla="*/ 639 h 781"/>
                <a:gd name="T32" fmla="*/ 643 w 809"/>
                <a:gd name="T33" fmla="*/ 639 h 781"/>
                <a:gd name="T34" fmla="*/ 610 w 809"/>
                <a:gd name="T35" fmla="*/ 550 h 781"/>
                <a:gd name="T36" fmla="*/ 698 w 809"/>
                <a:gd name="T37" fmla="*/ 562 h 781"/>
                <a:gd name="T38" fmla="*/ 610 w 809"/>
                <a:gd name="T39" fmla="*/ 550 h 781"/>
                <a:gd name="T40" fmla="*/ 640 w 809"/>
                <a:gd name="T41" fmla="*/ 477 h 781"/>
                <a:gd name="T42" fmla="*/ 680 w 809"/>
                <a:gd name="T43" fmla="*/ 516 h 781"/>
                <a:gd name="T44" fmla="*/ 199 w 809"/>
                <a:gd name="T45" fmla="*/ 562 h 781"/>
                <a:gd name="T46" fmla="*/ 110 w 809"/>
                <a:gd name="T47" fmla="*/ 562 h 781"/>
                <a:gd name="T48" fmla="*/ 199 w 809"/>
                <a:gd name="T49" fmla="*/ 546 h 781"/>
                <a:gd name="T50" fmla="*/ 143 w 809"/>
                <a:gd name="T51" fmla="*/ 639 h 781"/>
                <a:gd name="T52" fmla="*/ 155 w 809"/>
                <a:gd name="T53" fmla="*/ 651 h 781"/>
                <a:gd name="T54" fmla="*/ 276 w 809"/>
                <a:gd name="T55" fmla="*/ 716 h 781"/>
                <a:gd name="T56" fmla="*/ 33 w 809"/>
                <a:gd name="T57" fmla="*/ 716 h 781"/>
                <a:gd name="T58" fmla="*/ 166 w 809"/>
                <a:gd name="T59" fmla="*/ 686 h 781"/>
                <a:gd name="T60" fmla="*/ 110 w 809"/>
                <a:gd name="T61" fmla="*/ 507 h 781"/>
                <a:gd name="T62" fmla="*/ 199 w 809"/>
                <a:gd name="T63" fmla="*/ 477 h 781"/>
                <a:gd name="T64" fmla="*/ 110 w 809"/>
                <a:gd name="T65" fmla="*/ 516 h 781"/>
                <a:gd name="T66" fmla="*/ 717 w 809"/>
                <a:gd name="T67" fmla="*/ 607 h 781"/>
                <a:gd name="T68" fmla="*/ 732 w 809"/>
                <a:gd name="T69" fmla="*/ 501 h 781"/>
                <a:gd name="T70" fmla="*/ 715 w 809"/>
                <a:gd name="T71" fmla="*/ 444 h 781"/>
                <a:gd name="T72" fmla="*/ 577 w 809"/>
                <a:gd name="T73" fmla="*/ 515 h 781"/>
                <a:gd name="T74" fmla="*/ 422 w 809"/>
                <a:gd name="T75" fmla="*/ 394 h 781"/>
                <a:gd name="T76" fmla="*/ 559 w 809"/>
                <a:gd name="T77" fmla="*/ 319 h 781"/>
                <a:gd name="T78" fmla="*/ 482 w 809"/>
                <a:gd name="T79" fmla="*/ 117 h 781"/>
                <a:gd name="T80" fmla="*/ 482 w 809"/>
                <a:gd name="T81" fmla="*/ 53 h 781"/>
                <a:gd name="T82" fmla="*/ 390 w 809"/>
                <a:gd name="T83" fmla="*/ 0 h 781"/>
                <a:gd name="T84" fmla="*/ 342 w 809"/>
                <a:gd name="T85" fmla="*/ 163 h 781"/>
                <a:gd name="T86" fmla="*/ 266 w 809"/>
                <a:gd name="T87" fmla="*/ 336 h 781"/>
                <a:gd name="T88" fmla="*/ 301 w 809"/>
                <a:gd name="T89" fmla="*/ 496 h 781"/>
                <a:gd name="T90" fmla="*/ 232 w 809"/>
                <a:gd name="T91" fmla="*/ 503 h 781"/>
                <a:gd name="T92" fmla="*/ 232 w 809"/>
                <a:gd name="T93" fmla="*/ 460 h 781"/>
                <a:gd name="T94" fmla="*/ 77 w 809"/>
                <a:gd name="T95" fmla="*/ 507 h 781"/>
                <a:gd name="T96" fmla="*/ 0 w 809"/>
                <a:gd name="T97" fmla="*/ 716 h 781"/>
                <a:gd name="T98" fmla="*/ 293 w 809"/>
                <a:gd name="T99" fmla="*/ 781 h 781"/>
                <a:gd name="T100" fmla="*/ 217 w 809"/>
                <a:gd name="T101" fmla="*/ 607 h 781"/>
                <a:gd name="T102" fmla="*/ 315 w 809"/>
                <a:gd name="T103" fmla="*/ 549 h 781"/>
                <a:gd name="T104" fmla="*/ 577 w 809"/>
                <a:gd name="T105" fmla="*/ 549 h 781"/>
                <a:gd name="T106" fmla="*/ 499 w 809"/>
                <a:gd name="T107" fmla="*/ 716 h 781"/>
                <a:gd name="T108" fmla="*/ 793 w 809"/>
                <a:gd name="T109" fmla="*/ 781 h 781"/>
                <a:gd name="T110" fmla="*/ 717 w 809"/>
                <a:gd name="T111" fmla="*/ 607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9" h="781">
                  <a:moveTo>
                    <a:pt x="776" y="747"/>
                  </a:moveTo>
                  <a:lnTo>
                    <a:pt x="776" y="747"/>
                  </a:lnTo>
                  <a:lnTo>
                    <a:pt x="532" y="747"/>
                  </a:lnTo>
                  <a:lnTo>
                    <a:pt x="532" y="716"/>
                  </a:lnTo>
                  <a:cubicBezTo>
                    <a:pt x="532" y="678"/>
                    <a:pt x="560" y="646"/>
                    <a:pt x="597" y="640"/>
                  </a:cubicBezTo>
                  <a:lnTo>
                    <a:pt x="642" y="686"/>
                  </a:lnTo>
                  <a:cubicBezTo>
                    <a:pt x="649" y="692"/>
                    <a:pt x="660" y="692"/>
                    <a:pt x="666" y="686"/>
                  </a:cubicBezTo>
                  <a:lnTo>
                    <a:pt x="712" y="640"/>
                  </a:lnTo>
                  <a:cubicBezTo>
                    <a:pt x="748" y="646"/>
                    <a:pt x="776" y="678"/>
                    <a:pt x="776" y="716"/>
                  </a:cubicBezTo>
                  <a:lnTo>
                    <a:pt x="776" y="747"/>
                  </a:lnTo>
                  <a:close/>
                  <a:moveTo>
                    <a:pt x="404" y="566"/>
                  </a:moveTo>
                  <a:lnTo>
                    <a:pt x="404" y="566"/>
                  </a:lnTo>
                  <a:cubicBezTo>
                    <a:pt x="366" y="566"/>
                    <a:pt x="334" y="535"/>
                    <a:pt x="334" y="496"/>
                  </a:cubicBezTo>
                  <a:cubicBezTo>
                    <a:pt x="334" y="457"/>
                    <a:pt x="366" y="425"/>
                    <a:pt x="404" y="425"/>
                  </a:cubicBezTo>
                  <a:cubicBezTo>
                    <a:pt x="443" y="425"/>
                    <a:pt x="475" y="457"/>
                    <a:pt x="475" y="496"/>
                  </a:cubicBezTo>
                  <a:cubicBezTo>
                    <a:pt x="475" y="535"/>
                    <a:pt x="443" y="566"/>
                    <a:pt x="404" y="566"/>
                  </a:cubicBezTo>
                  <a:close/>
                  <a:moveTo>
                    <a:pt x="283" y="271"/>
                  </a:moveTo>
                  <a:lnTo>
                    <a:pt x="283" y="271"/>
                  </a:lnTo>
                  <a:cubicBezTo>
                    <a:pt x="283" y="234"/>
                    <a:pt x="310" y="202"/>
                    <a:pt x="347" y="196"/>
                  </a:cubicBezTo>
                  <a:lnTo>
                    <a:pt x="393" y="241"/>
                  </a:lnTo>
                  <a:cubicBezTo>
                    <a:pt x="399" y="248"/>
                    <a:pt x="410" y="248"/>
                    <a:pt x="416" y="241"/>
                  </a:cubicBezTo>
                  <a:lnTo>
                    <a:pt x="462" y="196"/>
                  </a:lnTo>
                  <a:cubicBezTo>
                    <a:pt x="499" y="202"/>
                    <a:pt x="526" y="234"/>
                    <a:pt x="526" y="271"/>
                  </a:cubicBezTo>
                  <a:lnTo>
                    <a:pt x="526" y="303"/>
                  </a:lnTo>
                  <a:lnTo>
                    <a:pt x="283" y="303"/>
                  </a:lnTo>
                  <a:lnTo>
                    <a:pt x="283" y="271"/>
                  </a:lnTo>
                  <a:close/>
                  <a:moveTo>
                    <a:pt x="416" y="195"/>
                  </a:moveTo>
                  <a:lnTo>
                    <a:pt x="416" y="195"/>
                  </a:lnTo>
                  <a:lnTo>
                    <a:pt x="404" y="206"/>
                  </a:lnTo>
                  <a:lnTo>
                    <a:pt x="393" y="195"/>
                  </a:lnTo>
                  <a:lnTo>
                    <a:pt x="416" y="195"/>
                  </a:lnTo>
                  <a:close/>
                  <a:moveTo>
                    <a:pt x="360" y="105"/>
                  </a:moveTo>
                  <a:lnTo>
                    <a:pt x="360" y="105"/>
                  </a:lnTo>
                  <a:lnTo>
                    <a:pt x="430" y="105"/>
                  </a:lnTo>
                  <a:cubicBezTo>
                    <a:pt x="436" y="105"/>
                    <a:pt x="443" y="104"/>
                    <a:pt x="449" y="102"/>
                  </a:cubicBezTo>
                  <a:lnTo>
                    <a:pt x="449" y="117"/>
                  </a:lnTo>
                  <a:cubicBezTo>
                    <a:pt x="449" y="142"/>
                    <a:pt x="429" y="161"/>
                    <a:pt x="404" y="161"/>
                  </a:cubicBezTo>
                  <a:cubicBezTo>
                    <a:pt x="380" y="161"/>
                    <a:pt x="360" y="142"/>
                    <a:pt x="360" y="117"/>
                  </a:cubicBezTo>
                  <a:lnTo>
                    <a:pt x="360" y="105"/>
                  </a:lnTo>
                  <a:close/>
                  <a:moveTo>
                    <a:pt x="360" y="62"/>
                  </a:moveTo>
                  <a:lnTo>
                    <a:pt x="360" y="62"/>
                  </a:lnTo>
                  <a:cubicBezTo>
                    <a:pt x="360" y="46"/>
                    <a:pt x="373" y="32"/>
                    <a:pt x="390" y="32"/>
                  </a:cubicBezTo>
                  <a:lnTo>
                    <a:pt x="449" y="32"/>
                  </a:lnTo>
                  <a:lnTo>
                    <a:pt x="449" y="53"/>
                  </a:lnTo>
                  <a:cubicBezTo>
                    <a:pt x="449" y="63"/>
                    <a:pt x="440" y="72"/>
                    <a:pt x="430" y="72"/>
                  </a:cubicBezTo>
                  <a:lnTo>
                    <a:pt x="360" y="72"/>
                  </a:lnTo>
                  <a:lnTo>
                    <a:pt x="360" y="62"/>
                  </a:lnTo>
                  <a:close/>
                  <a:moveTo>
                    <a:pt x="666" y="639"/>
                  </a:moveTo>
                  <a:lnTo>
                    <a:pt x="666" y="639"/>
                  </a:lnTo>
                  <a:lnTo>
                    <a:pt x="654" y="651"/>
                  </a:lnTo>
                  <a:lnTo>
                    <a:pt x="643" y="639"/>
                  </a:lnTo>
                  <a:lnTo>
                    <a:pt x="666" y="639"/>
                  </a:lnTo>
                  <a:close/>
                  <a:moveTo>
                    <a:pt x="610" y="550"/>
                  </a:moveTo>
                  <a:lnTo>
                    <a:pt x="610" y="550"/>
                  </a:lnTo>
                  <a:lnTo>
                    <a:pt x="680" y="550"/>
                  </a:lnTo>
                  <a:cubicBezTo>
                    <a:pt x="686" y="550"/>
                    <a:pt x="693" y="548"/>
                    <a:pt x="698" y="546"/>
                  </a:cubicBezTo>
                  <a:lnTo>
                    <a:pt x="698" y="562"/>
                  </a:lnTo>
                  <a:cubicBezTo>
                    <a:pt x="698" y="586"/>
                    <a:pt x="679" y="606"/>
                    <a:pt x="654" y="606"/>
                  </a:cubicBezTo>
                  <a:cubicBezTo>
                    <a:pt x="630" y="606"/>
                    <a:pt x="610" y="586"/>
                    <a:pt x="610" y="562"/>
                  </a:cubicBezTo>
                  <a:lnTo>
                    <a:pt x="610" y="550"/>
                  </a:lnTo>
                  <a:close/>
                  <a:moveTo>
                    <a:pt x="610" y="507"/>
                  </a:moveTo>
                  <a:lnTo>
                    <a:pt x="610" y="507"/>
                  </a:lnTo>
                  <a:cubicBezTo>
                    <a:pt x="610" y="490"/>
                    <a:pt x="623" y="477"/>
                    <a:pt x="640" y="477"/>
                  </a:cubicBezTo>
                  <a:lnTo>
                    <a:pt x="698" y="477"/>
                  </a:lnTo>
                  <a:lnTo>
                    <a:pt x="698" y="498"/>
                  </a:lnTo>
                  <a:cubicBezTo>
                    <a:pt x="698" y="508"/>
                    <a:pt x="690" y="516"/>
                    <a:pt x="680" y="516"/>
                  </a:cubicBezTo>
                  <a:lnTo>
                    <a:pt x="610" y="516"/>
                  </a:lnTo>
                  <a:lnTo>
                    <a:pt x="610" y="507"/>
                  </a:lnTo>
                  <a:close/>
                  <a:moveTo>
                    <a:pt x="199" y="562"/>
                  </a:moveTo>
                  <a:lnTo>
                    <a:pt x="199" y="562"/>
                  </a:lnTo>
                  <a:cubicBezTo>
                    <a:pt x="199" y="586"/>
                    <a:pt x="179" y="606"/>
                    <a:pt x="155" y="606"/>
                  </a:cubicBezTo>
                  <a:cubicBezTo>
                    <a:pt x="130" y="606"/>
                    <a:pt x="110" y="586"/>
                    <a:pt x="110" y="562"/>
                  </a:cubicBezTo>
                  <a:lnTo>
                    <a:pt x="110" y="550"/>
                  </a:lnTo>
                  <a:lnTo>
                    <a:pt x="180" y="550"/>
                  </a:lnTo>
                  <a:cubicBezTo>
                    <a:pt x="187" y="550"/>
                    <a:pt x="193" y="548"/>
                    <a:pt x="199" y="546"/>
                  </a:cubicBezTo>
                  <a:lnTo>
                    <a:pt x="199" y="549"/>
                  </a:lnTo>
                  <a:lnTo>
                    <a:pt x="199" y="562"/>
                  </a:lnTo>
                  <a:close/>
                  <a:moveTo>
                    <a:pt x="143" y="639"/>
                  </a:moveTo>
                  <a:lnTo>
                    <a:pt x="143" y="639"/>
                  </a:lnTo>
                  <a:lnTo>
                    <a:pt x="166" y="639"/>
                  </a:lnTo>
                  <a:lnTo>
                    <a:pt x="155" y="651"/>
                  </a:lnTo>
                  <a:lnTo>
                    <a:pt x="143" y="639"/>
                  </a:lnTo>
                  <a:close/>
                  <a:moveTo>
                    <a:pt x="276" y="716"/>
                  </a:moveTo>
                  <a:lnTo>
                    <a:pt x="276" y="716"/>
                  </a:lnTo>
                  <a:lnTo>
                    <a:pt x="276" y="747"/>
                  </a:lnTo>
                  <a:lnTo>
                    <a:pt x="33" y="747"/>
                  </a:lnTo>
                  <a:lnTo>
                    <a:pt x="33" y="716"/>
                  </a:lnTo>
                  <a:cubicBezTo>
                    <a:pt x="33" y="678"/>
                    <a:pt x="60" y="646"/>
                    <a:pt x="97" y="640"/>
                  </a:cubicBezTo>
                  <a:lnTo>
                    <a:pt x="143" y="686"/>
                  </a:lnTo>
                  <a:cubicBezTo>
                    <a:pt x="149" y="692"/>
                    <a:pt x="160" y="692"/>
                    <a:pt x="166" y="686"/>
                  </a:cubicBezTo>
                  <a:lnTo>
                    <a:pt x="212" y="640"/>
                  </a:lnTo>
                  <a:cubicBezTo>
                    <a:pt x="249" y="646"/>
                    <a:pt x="276" y="678"/>
                    <a:pt x="276" y="716"/>
                  </a:cubicBezTo>
                  <a:close/>
                  <a:moveTo>
                    <a:pt x="110" y="507"/>
                  </a:moveTo>
                  <a:lnTo>
                    <a:pt x="110" y="507"/>
                  </a:lnTo>
                  <a:cubicBezTo>
                    <a:pt x="110" y="490"/>
                    <a:pt x="124" y="477"/>
                    <a:pt x="140" y="477"/>
                  </a:cubicBezTo>
                  <a:lnTo>
                    <a:pt x="199" y="477"/>
                  </a:lnTo>
                  <a:lnTo>
                    <a:pt x="199" y="498"/>
                  </a:lnTo>
                  <a:cubicBezTo>
                    <a:pt x="199" y="508"/>
                    <a:pt x="190" y="516"/>
                    <a:pt x="180" y="516"/>
                  </a:cubicBezTo>
                  <a:lnTo>
                    <a:pt x="110" y="516"/>
                  </a:lnTo>
                  <a:lnTo>
                    <a:pt x="110" y="507"/>
                  </a:lnTo>
                  <a:close/>
                  <a:moveTo>
                    <a:pt x="717" y="607"/>
                  </a:moveTo>
                  <a:lnTo>
                    <a:pt x="717" y="607"/>
                  </a:lnTo>
                  <a:cubicBezTo>
                    <a:pt x="726" y="594"/>
                    <a:pt x="732" y="578"/>
                    <a:pt x="732" y="562"/>
                  </a:cubicBezTo>
                  <a:lnTo>
                    <a:pt x="732" y="503"/>
                  </a:lnTo>
                  <a:cubicBezTo>
                    <a:pt x="732" y="502"/>
                    <a:pt x="732" y="501"/>
                    <a:pt x="732" y="501"/>
                  </a:cubicBezTo>
                  <a:cubicBezTo>
                    <a:pt x="732" y="500"/>
                    <a:pt x="732" y="499"/>
                    <a:pt x="732" y="498"/>
                  </a:cubicBezTo>
                  <a:lnTo>
                    <a:pt x="732" y="460"/>
                  </a:lnTo>
                  <a:cubicBezTo>
                    <a:pt x="732" y="451"/>
                    <a:pt x="724" y="444"/>
                    <a:pt x="715" y="444"/>
                  </a:cubicBezTo>
                  <a:lnTo>
                    <a:pt x="640" y="444"/>
                  </a:lnTo>
                  <a:cubicBezTo>
                    <a:pt x="605" y="444"/>
                    <a:pt x="577" y="472"/>
                    <a:pt x="577" y="507"/>
                  </a:cubicBezTo>
                  <a:lnTo>
                    <a:pt x="577" y="515"/>
                  </a:lnTo>
                  <a:lnTo>
                    <a:pt x="506" y="515"/>
                  </a:lnTo>
                  <a:cubicBezTo>
                    <a:pt x="507" y="509"/>
                    <a:pt x="508" y="503"/>
                    <a:pt x="508" y="496"/>
                  </a:cubicBezTo>
                  <a:cubicBezTo>
                    <a:pt x="508" y="445"/>
                    <a:pt x="471" y="402"/>
                    <a:pt x="422" y="394"/>
                  </a:cubicBezTo>
                  <a:lnTo>
                    <a:pt x="422" y="336"/>
                  </a:lnTo>
                  <a:lnTo>
                    <a:pt x="543" y="336"/>
                  </a:lnTo>
                  <a:cubicBezTo>
                    <a:pt x="552" y="336"/>
                    <a:pt x="559" y="328"/>
                    <a:pt x="559" y="319"/>
                  </a:cubicBezTo>
                  <a:lnTo>
                    <a:pt x="559" y="271"/>
                  </a:lnTo>
                  <a:cubicBezTo>
                    <a:pt x="559" y="218"/>
                    <a:pt x="519" y="171"/>
                    <a:pt x="467" y="163"/>
                  </a:cubicBezTo>
                  <a:cubicBezTo>
                    <a:pt x="477" y="150"/>
                    <a:pt x="482" y="134"/>
                    <a:pt x="482" y="117"/>
                  </a:cubicBezTo>
                  <a:lnTo>
                    <a:pt x="482" y="58"/>
                  </a:lnTo>
                  <a:cubicBezTo>
                    <a:pt x="482" y="57"/>
                    <a:pt x="482" y="56"/>
                    <a:pt x="482" y="57"/>
                  </a:cubicBezTo>
                  <a:cubicBezTo>
                    <a:pt x="482" y="56"/>
                    <a:pt x="482" y="54"/>
                    <a:pt x="482" y="53"/>
                  </a:cubicBezTo>
                  <a:lnTo>
                    <a:pt x="482" y="16"/>
                  </a:lnTo>
                  <a:cubicBezTo>
                    <a:pt x="482" y="7"/>
                    <a:pt x="474" y="0"/>
                    <a:pt x="465" y="0"/>
                  </a:cubicBezTo>
                  <a:lnTo>
                    <a:pt x="390" y="0"/>
                  </a:lnTo>
                  <a:cubicBezTo>
                    <a:pt x="355" y="0"/>
                    <a:pt x="327" y="27"/>
                    <a:pt x="327" y="62"/>
                  </a:cubicBezTo>
                  <a:lnTo>
                    <a:pt x="327" y="117"/>
                  </a:lnTo>
                  <a:cubicBezTo>
                    <a:pt x="327" y="134"/>
                    <a:pt x="332" y="150"/>
                    <a:pt x="342" y="163"/>
                  </a:cubicBezTo>
                  <a:cubicBezTo>
                    <a:pt x="289" y="171"/>
                    <a:pt x="249" y="218"/>
                    <a:pt x="249" y="271"/>
                  </a:cubicBezTo>
                  <a:lnTo>
                    <a:pt x="249" y="319"/>
                  </a:lnTo>
                  <a:cubicBezTo>
                    <a:pt x="249" y="328"/>
                    <a:pt x="257" y="336"/>
                    <a:pt x="266" y="336"/>
                  </a:cubicBezTo>
                  <a:lnTo>
                    <a:pt x="388" y="336"/>
                  </a:lnTo>
                  <a:lnTo>
                    <a:pt x="388" y="394"/>
                  </a:lnTo>
                  <a:cubicBezTo>
                    <a:pt x="339" y="401"/>
                    <a:pt x="301" y="444"/>
                    <a:pt x="301" y="496"/>
                  </a:cubicBezTo>
                  <a:cubicBezTo>
                    <a:pt x="301" y="503"/>
                    <a:pt x="301" y="509"/>
                    <a:pt x="303" y="515"/>
                  </a:cubicBezTo>
                  <a:lnTo>
                    <a:pt x="232" y="515"/>
                  </a:lnTo>
                  <a:lnTo>
                    <a:pt x="232" y="503"/>
                  </a:lnTo>
                  <a:cubicBezTo>
                    <a:pt x="232" y="502"/>
                    <a:pt x="232" y="501"/>
                    <a:pt x="232" y="501"/>
                  </a:cubicBezTo>
                  <a:cubicBezTo>
                    <a:pt x="232" y="500"/>
                    <a:pt x="232" y="499"/>
                    <a:pt x="232" y="498"/>
                  </a:cubicBezTo>
                  <a:lnTo>
                    <a:pt x="232" y="460"/>
                  </a:lnTo>
                  <a:cubicBezTo>
                    <a:pt x="232" y="451"/>
                    <a:pt x="225" y="444"/>
                    <a:pt x="215" y="444"/>
                  </a:cubicBezTo>
                  <a:lnTo>
                    <a:pt x="140" y="444"/>
                  </a:lnTo>
                  <a:cubicBezTo>
                    <a:pt x="105" y="444"/>
                    <a:pt x="77" y="472"/>
                    <a:pt x="77" y="507"/>
                  </a:cubicBezTo>
                  <a:lnTo>
                    <a:pt x="77" y="562"/>
                  </a:lnTo>
                  <a:cubicBezTo>
                    <a:pt x="77" y="578"/>
                    <a:pt x="82" y="594"/>
                    <a:pt x="92" y="607"/>
                  </a:cubicBezTo>
                  <a:cubicBezTo>
                    <a:pt x="40" y="616"/>
                    <a:pt x="0" y="662"/>
                    <a:pt x="0" y="716"/>
                  </a:cubicBezTo>
                  <a:lnTo>
                    <a:pt x="0" y="764"/>
                  </a:lnTo>
                  <a:cubicBezTo>
                    <a:pt x="0" y="773"/>
                    <a:pt x="7" y="781"/>
                    <a:pt x="16" y="781"/>
                  </a:cubicBezTo>
                  <a:lnTo>
                    <a:pt x="293" y="781"/>
                  </a:lnTo>
                  <a:cubicBezTo>
                    <a:pt x="302" y="781"/>
                    <a:pt x="309" y="773"/>
                    <a:pt x="309" y="764"/>
                  </a:cubicBezTo>
                  <a:lnTo>
                    <a:pt x="309" y="716"/>
                  </a:lnTo>
                  <a:cubicBezTo>
                    <a:pt x="309" y="662"/>
                    <a:pt x="269" y="616"/>
                    <a:pt x="217" y="607"/>
                  </a:cubicBezTo>
                  <a:cubicBezTo>
                    <a:pt x="227" y="594"/>
                    <a:pt x="232" y="578"/>
                    <a:pt x="232" y="562"/>
                  </a:cubicBezTo>
                  <a:lnTo>
                    <a:pt x="232" y="549"/>
                  </a:lnTo>
                  <a:lnTo>
                    <a:pt x="315" y="549"/>
                  </a:lnTo>
                  <a:cubicBezTo>
                    <a:pt x="333" y="579"/>
                    <a:pt x="366" y="600"/>
                    <a:pt x="404" y="600"/>
                  </a:cubicBezTo>
                  <a:cubicBezTo>
                    <a:pt x="442" y="600"/>
                    <a:pt x="475" y="579"/>
                    <a:pt x="493" y="549"/>
                  </a:cubicBezTo>
                  <a:lnTo>
                    <a:pt x="577" y="549"/>
                  </a:lnTo>
                  <a:lnTo>
                    <a:pt x="577" y="562"/>
                  </a:lnTo>
                  <a:cubicBezTo>
                    <a:pt x="577" y="578"/>
                    <a:pt x="582" y="594"/>
                    <a:pt x="592" y="607"/>
                  </a:cubicBezTo>
                  <a:cubicBezTo>
                    <a:pt x="539" y="616"/>
                    <a:pt x="499" y="662"/>
                    <a:pt x="499" y="716"/>
                  </a:cubicBezTo>
                  <a:lnTo>
                    <a:pt x="499" y="764"/>
                  </a:lnTo>
                  <a:cubicBezTo>
                    <a:pt x="499" y="773"/>
                    <a:pt x="507" y="781"/>
                    <a:pt x="516" y="781"/>
                  </a:cubicBezTo>
                  <a:lnTo>
                    <a:pt x="793" y="781"/>
                  </a:lnTo>
                  <a:cubicBezTo>
                    <a:pt x="802" y="781"/>
                    <a:pt x="809" y="773"/>
                    <a:pt x="809" y="764"/>
                  </a:cubicBezTo>
                  <a:lnTo>
                    <a:pt x="809" y="716"/>
                  </a:lnTo>
                  <a:cubicBezTo>
                    <a:pt x="809" y="662"/>
                    <a:pt x="769" y="616"/>
                    <a:pt x="717" y="607"/>
                  </a:cubicBez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noProof="0" dirty="0">
                <a:ln>
                  <a:noFill/>
                </a:ln>
                <a:solidFill>
                  <a:prstClr val="white"/>
                </a:solidFill>
                <a:effectLst/>
                <a:uLnTx/>
                <a:uFillTx/>
                <a:latin typeface="ACHS Nueva Sans" pitchFamily="2" charset="0"/>
              </a:endParaRPr>
            </a:p>
          </p:txBody>
        </p:sp>
        <p:sp>
          <p:nvSpPr>
            <p:cNvPr id="60" name="Marcador de texto 2">
              <a:extLst>
                <a:ext uri="{FF2B5EF4-FFF2-40B4-BE49-F238E27FC236}">
                  <a16:creationId xmlns="" xmlns:a16="http://schemas.microsoft.com/office/drawing/2014/main" id="{328429E5-D53C-3CD2-A2F0-CE417551744C}"/>
                </a:ext>
              </a:extLst>
            </p:cNvPr>
            <p:cNvSpPr txBox="1">
              <a:spLocks/>
            </p:cNvSpPr>
            <p:nvPr/>
          </p:nvSpPr>
          <p:spPr>
            <a:xfrm>
              <a:off x="7827438" y="2342272"/>
              <a:ext cx="2091075" cy="215444"/>
            </a:xfrm>
            <a:prstGeom prst="rect">
              <a:avLst/>
            </a:prstGeom>
          </p:spPr>
          <p:txBody>
            <a:bodyPr wrap="square" lIns="0" tIns="0" rIns="0" bIns="0">
              <a:spAutoFit/>
            </a:bodyPr>
            <a:lstStyle>
              <a:lvl1pPr marL="0" marR="0" indent="-180000" algn="l" defTabSz="1218406" eaLnBrk="1" latinLnBrk="0" hangingPunct="1">
                <a:lnSpc>
                  <a:spcPct val="90000"/>
                </a:lnSpc>
                <a:spcBef>
                  <a:spcPts val="0"/>
                </a:spcBef>
                <a:spcAft>
                  <a:spcPts val="0"/>
                </a:spcAft>
                <a:buClrTx/>
                <a:buSzPct val="123000"/>
                <a:buFontTx/>
                <a:buNone/>
                <a:tabLst/>
                <a:defRPr sz="1300" b="0" i="0" u="none" strike="noStrike" cap="none" spc="0" baseline="0">
                  <a:solidFill>
                    <a:schemeClr val="tx1">
                      <a:lumMod val="75000"/>
                      <a:lumOff val="25000"/>
                    </a:schemeClr>
                  </a:solidFill>
                  <a:uFillTx/>
                  <a:latin typeface="Arial"/>
                  <a:ea typeface="Arial"/>
                  <a:cs typeface="Arial"/>
                  <a:sym typeface="Arial"/>
                </a:defRPr>
              </a:lvl1pPr>
              <a:lvl2pPr marL="0" marR="0" indent="-180000" algn="l" defTabSz="1218406" eaLnBrk="1" latinLnBrk="0" hangingPunct="1">
                <a:lnSpc>
                  <a:spcPct val="90000"/>
                </a:lnSpc>
                <a:spcBef>
                  <a:spcPts val="0"/>
                </a:spcBef>
                <a:spcAft>
                  <a:spcPts val="0"/>
                </a:spcAft>
                <a:buClr>
                  <a:schemeClr val="bg2"/>
                </a:buClr>
                <a:buSzPct val="100000"/>
                <a:buFont typeface="Wingdings" pitchFamily="2" charset="2"/>
                <a:buChar char="§"/>
                <a:tabLst/>
                <a:defRPr sz="1400" b="0" i="0" u="none" strike="noStrike" cap="none" spc="0" baseline="0">
                  <a:solidFill>
                    <a:schemeClr val="tx1">
                      <a:lumMod val="90000"/>
                      <a:lumOff val="10000"/>
                    </a:schemeClr>
                  </a:solidFill>
                  <a:uFillTx/>
                  <a:latin typeface="Arial"/>
                  <a:ea typeface="Arial"/>
                  <a:cs typeface="Arial"/>
                  <a:sym typeface="Arial"/>
                </a:defRPr>
              </a:lvl2pPr>
              <a:lvl3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3pPr>
              <a:lvl4pPr marL="0" marR="0" indent="-180000" algn="l" defTabSz="1218406" eaLnBrk="1" latinLnBrk="0" hangingPunct="1">
                <a:lnSpc>
                  <a:spcPct val="90000"/>
                </a:lnSpc>
                <a:spcBef>
                  <a:spcPts val="0"/>
                </a:spcBef>
                <a:spcAft>
                  <a:spcPts val="0"/>
                </a:spcAft>
                <a:buClr>
                  <a:schemeClr val="bg2"/>
                </a:buClr>
                <a:buSzPct val="90000"/>
                <a:buFont typeface=".Lucida Grande UI Regular"/>
                <a:buChar char="▫"/>
                <a:tabLst/>
                <a:defRPr sz="1400" b="0" i="0" u="none" strike="noStrike" cap="none" spc="0" baseline="0">
                  <a:solidFill>
                    <a:schemeClr val="tx1">
                      <a:lumMod val="90000"/>
                      <a:lumOff val="10000"/>
                    </a:schemeClr>
                  </a:solidFill>
                  <a:uFillTx/>
                  <a:latin typeface="Arial"/>
                  <a:ea typeface="Arial"/>
                  <a:cs typeface="Arial"/>
                  <a:sym typeface="Arial"/>
                </a:defRPr>
              </a:lvl4pPr>
              <a:lvl5pPr marL="0" marR="0" indent="0" algn="l" defTabSz="1218406" eaLnBrk="1" latinLnBrk="0" hangingPunct="1">
                <a:lnSpc>
                  <a:spcPct val="90000"/>
                </a:lnSpc>
                <a:spcBef>
                  <a:spcPts val="0"/>
                </a:spcBef>
                <a:spcAft>
                  <a:spcPts val="0"/>
                </a:spcAft>
                <a:buClr>
                  <a:schemeClr val="bg2"/>
                </a:buClr>
                <a:buSzPct val="90000"/>
                <a:buFont typeface=".Lucida Grande UI Regular"/>
                <a:buNone/>
                <a:tabLst/>
                <a:defRPr sz="1400" b="0" i="0" u="none" strike="noStrike" cap="none" spc="0" baseline="0">
                  <a:solidFill>
                    <a:schemeClr val="tx1">
                      <a:lumMod val="90000"/>
                      <a:lumOff val="10000"/>
                    </a:schemeClr>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180000" algn="l" defTabSz="1218406" eaLnBrk="1" fontAlgn="auto" latinLnBrk="0" hangingPunct="1">
                <a:lnSpc>
                  <a:spcPct val="100000"/>
                </a:lnSpc>
                <a:spcBef>
                  <a:spcPts val="0"/>
                </a:spcBef>
                <a:spcAft>
                  <a:spcPts val="600"/>
                </a:spcAft>
                <a:buClrTx/>
                <a:buSzPct val="123000"/>
                <a:buFontTx/>
                <a:buNone/>
                <a:tabLst/>
                <a:defRPr/>
              </a:pPr>
              <a:r>
                <a:rPr kumimoji="0" lang="es-ES" sz="1400" b="1" i="0" u="none" strike="noStrike" kern="0" cap="none" spc="50" normalizeH="0" baseline="0" noProof="0" dirty="0">
                  <a:ln>
                    <a:noFill/>
                  </a:ln>
                  <a:solidFill>
                    <a:srgbClr val="7DFF46"/>
                  </a:solidFill>
                  <a:effectLst/>
                  <a:uLnTx/>
                  <a:uFillTx/>
                  <a:latin typeface="ACHS Nueva Sans" pitchFamily="2" charset="0"/>
                  <a:sym typeface="Arial"/>
                </a:rPr>
                <a:t>Entidad empleadora B</a:t>
              </a:r>
            </a:p>
          </p:txBody>
        </p:sp>
      </p:grpSp>
    </p:spTree>
    <p:custDataLst>
      <p:tags r:id="rId2"/>
    </p:custDataLst>
    <p:extLst>
      <p:ext uri="{BB962C8B-B14F-4D97-AF65-F5344CB8AC3E}">
        <p14:creationId xmlns:p14="http://schemas.microsoft.com/office/powerpoint/2010/main" val="1109402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1200329"/>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startAt="2"/>
            </a:pPr>
            <a:r>
              <a:rPr lang="es-ES" altLang="es-CL" b="1" dirty="0">
                <a:solidFill>
                  <a:srgbClr val="0FC044"/>
                </a:solidFill>
                <a:latin typeface="ACHS Nueva Sans Medium" pitchFamily="2" charset="0"/>
                <a:cs typeface="Arial" panose="020B0604020202020204" pitchFamily="34" charset="0"/>
              </a:rPr>
              <a:t>Sistemas de gestión de SST</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La entidad empleadora deberá implementar un Sistema de Gestión de la Seguridad y Salud en el Trabajo</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18" name="Rectángulo 17"/>
          <p:cNvSpPr/>
          <p:nvPr/>
        </p:nvSpPr>
        <p:spPr>
          <a:xfrm>
            <a:off x="764379" y="3054108"/>
            <a:ext cx="5053913" cy="923330"/>
          </a:xfrm>
          <a:prstGeom prst="rect">
            <a:avLst/>
          </a:prstGeom>
        </p:spPr>
        <p:txBody>
          <a:bodyPr wrap="square">
            <a:spAutoFit/>
          </a:bodyPr>
          <a:lstStyle/>
          <a:p>
            <a:r>
              <a:rPr lang="es-MX" dirty="0" smtClean="0">
                <a:solidFill>
                  <a:srgbClr val="004C14"/>
                </a:solidFill>
              </a:rPr>
              <a:t>Sistema </a:t>
            </a:r>
            <a:r>
              <a:rPr lang="es-MX" dirty="0">
                <a:solidFill>
                  <a:srgbClr val="004C14"/>
                </a:solidFill>
              </a:rPr>
              <a:t>de Gestión para </a:t>
            </a:r>
            <a:r>
              <a:rPr lang="es-MX" dirty="0" smtClean="0">
                <a:solidFill>
                  <a:srgbClr val="004C14"/>
                </a:solidFill>
              </a:rPr>
              <a:t>entidades </a:t>
            </a:r>
            <a:r>
              <a:rPr lang="es-MX" dirty="0">
                <a:solidFill>
                  <a:srgbClr val="004C14"/>
                </a:solidFill>
              </a:rPr>
              <a:t>empleadoras de </a:t>
            </a:r>
            <a:r>
              <a:rPr lang="es-MX" dirty="0" smtClean="0">
                <a:solidFill>
                  <a:srgbClr val="004C14"/>
                </a:solidFill>
              </a:rPr>
              <a:t>hasta veinticinco </a:t>
            </a:r>
            <a:r>
              <a:rPr lang="es-MX" dirty="0">
                <a:solidFill>
                  <a:srgbClr val="004C14"/>
                </a:solidFill>
              </a:rPr>
              <a:t>personas trabajadoras</a:t>
            </a:r>
          </a:p>
        </p:txBody>
      </p:sp>
      <p:sp>
        <p:nvSpPr>
          <p:cNvPr id="19" name="Rectángulo 18"/>
          <p:cNvSpPr/>
          <p:nvPr/>
        </p:nvSpPr>
        <p:spPr>
          <a:xfrm>
            <a:off x="764379" y="4985233"/>
            <a:ext cx="5053913" cy="923330"/>
          </a:xfrm>
          <a:prstGeom prst="rect">
            <a:avLst/>
          </a:prstGeom>
        </p:spPr>
        <p:txBody>
          <a:bodyPr wrap="square">
            <a:spAutoFit/>
          </a:bodyPr>
          <a:lstStyle/>
          <a:p>
            <a:r>
              <a:rPr lang="es-MX" dirty="0" smtClean="0">
                <a:solidFill>
                  <a:srgbClr val="004C14"/>
                </a:solidFill>
              </a:rPr>
              <a:t>Sistema </a:t>
            </a:r>
            <a:r>
              <a:rPr lang="es-MX" dirty="0">
                <a:solidFill>
                  <a:srgbClr val="004C14"/>
                </a:solidFill>
              </a:rPr>
              <a:t>de Gestión para entidades empleadoras de </a:t>
            </a:r>
            <a:r>
              <a:rPr lang="es-MX" dirty="0" smtClean="0">
                <a:solidFill>
                  <a:srgbClr val="004C14"/>
                </a:solidFill>
              </a:rPr>
              <a:t>mas de veinticinco </a:t>
            </a:r>
            <a:r>
              <a:rPr lang="es-MX" dirty="0">
                <a:solidFill>
                  <a:srgbClr val="004C14"/>
                </a:solidFill>
              </a:rPr>
              <a:t>personas </a:t>
            </a:r>
            <a:r>
              <a:rPr lang="es-MX" dirty="0" smtClean="0">
                <a:solidFill>
                  <a:srgbClr val="004C14"/>
                </a:solidFill>
              </a:rPr>
              <a:t>trabajadoras</a:t>
            </a:r>
            <a:endParaRPr lang="es-MX" dirty="0">
              <a:solidFill>
                <a:srgbClr val="004C14"/>
              </a:solidFill>
            </a:endParaRPr>
          </a:p>
        </p:txBody>
      </p:sp>
      <p:sp>
        <p:nvSpPr>
          <p:cNvPr id="20" name="CuadroTexto 19"/>
          <p:cNvSpPr txBox="1">
            <a:spLocks/>
          </p:cNvSpPr>
          <p:nvPr/>
        </p:nvSpPr>
        <p:spPr>
          <a:xfrm>
            <a:off x="6271142" y="3039526"/>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Política de SST</a:t>
            </a:r>
            <a:endParaRPr lang="es-MX" sz="800" dirty="0">
              <a:solidFill>
                <a:srgbClr val="004C14"/>
              </a:solidFill>
            </a:endParaRPr>
          </a:p>
        </p:txBody>
      </p:sp>
      <p:sp>
        <p:nvSpPr>
          <p:cNvPr id="21" name="CuadroTexto 20"/>
          <p:cNvSpPr txBox="1">
            <a:spLocks/>
          </p:cNvSpPr>
          <p:nvPr/>
        </p:nvSpPr>
        <p:spPr>
          <a:xfrm>
            <a:off x="6271141" y="3731856"/>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a:solidFill>
                  <a:srgbClr val="004C14"/>
                </a:solidFill>
              </a:rPr>
              <a:t>Evaluación</a:t>
            </a:r>
            <a:endParaRPr lang="es-MX" sz="800" dirty="0">
              <a:solidFill>
                <a:srgbClr val="004C14"/>
              </a:solidFill>
            </a:endParaRPr>
          </a:p>
        </p:txBody>
      </p:sp>
      <p:sp>
        <p:nvSpPr>
          <p:cNvPr id="22" name="CuadroTexto 21"/>
          <p:cNvSpPr txBox="1">
            <a:spLocks/>
          </p:cNvSpPr>
          <p:nvPr/>
        </p:nvSpPr>
        <p:spPr>
          <a:xfrm>
            <a:off x="8207300" y="3331022"/>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a:solidFill>
                  <a:srgbClr val="004C14"/>
                </a:solidFill>
              </a:rPr>
              <a:t>Programa de trabajo</a:t>
            </a:r>
            <a:endParaRPr lang="es-MX" sz="800" dirty="0">
              <a:solidFill>
                <a:srgbClr val="004C14"/>
              </a:solidFill>
            </a:endParaRPr>
          </a:p>
        </p:txBody>
      </p:sp>
      <p:sp>
        <p:nvSpPr>
          <p:cNvPr id="23" name="CuadroTexto 22"/>
          <p:cNvSpPr txBox="1">
            <a:spLocks/>
          </p:cNvSpPr>
          <p:nvPr/>
        </p:nvSpPr>
        <p:spPr>
          <a:xfrm>
            <a:off x="6271143" y="5061091"/>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Política de SST</a:t>
            </a:r>
            <a:endParaRPr lang="es-MX" sz="800" dirty="0">
              <a:solidFill>
                <a:srgbClr val="004C14"/>
              </a:solidFill>
            </a:endParaRPr>
          </a:p>
        </p:txBody>
      </p:sp>
      <p:sp>
        <p:nvSpPr>
          <p:cNvPr id="24" name="CuadroTexto 23"/>
          <p:cNvSpPr txBox="1">
            <a:spLocks/>
          </p:cNvSpPr>
          <p:nvPr/>
        </p:nvSpPr>
        <p:spPr>
          <a:xfrm>
            <a:off x="8212676" y="5058908"/>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Estructura organizacional</a:t>
            </a:r>
            <a:endParaRPr lang="es-MX" sz="800" dirty="0">
              <a:solidFill>
                <a:srgbClr val="004C14"/>
              </a:solidFill>
            </a:endParaRPr>
          </a:p>
        </p:txBody>
      </p:sp>
      <p:sp>
        <p:nvSpPr>
          <p:cNvPr id="25" name="CuadroTexto 24"/>
          <p:cNvSpPr txBox="1">
            <a:spLocks/>
          </p:cNvSpPr>
          <p:nvPr/>
        </p:nvSpPr>
        <p:spPr>
          <a:xfrm>
            <a:off x="6271142" y="5653690"/>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Diagnóstico</a:t>
            </a:r>
            <a:endParaRPr lang="es-MX" sz="800" dirty="0">
              <a:solidFill>
                <a:srgbClr val="004C14"/>
              </a:solidFill>
            </a:endParaRPr>
          </a:p>
        </p:txBody>
      </p:sp>
      <p:sp>
        <p:nvSpPr>
          <p:cNvPr id="26" name="CuadroTexto 25"/>
          <p:cNvSpPr txBox="1">
            <a:spLocks/>
          </p:cNvSpPr>
          <p:nvPr/>
        </p:nvSpPr>
        <p:spPr>
          <a:xfrm>
            <a:off x="8212675" y="5657818"/>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Auditoría</a:t>
            </a:r>
            <a:endParaRPr lang="es-MX" sz="800" dirty="0">
              <a:solidFill>
                <a:srgbClr val="004C14"/>
              </a:solidFill>
            </a:endParaRPr>
          </a:p>
        </p:txBody>
      </p:sp>
      <p:sp>
        <p:nvSpPr>
          <p:cNvPr id="27" name="CuadroTexto 26"/>
          <p:cNvSpPr txBox="1">
            <a:spLocks/>
          </p:cNvSpPr>
          <p:nvPr/>
        </p:nvSpPr>
        <p:spPr>
          <a:xfrm>
            <a:off x="7295525" y="6228983"/>
            <a:ext cx="1616991" cy="355390"/>
          </a:xfrm>
          <a:prstGeom prst="round2DiagRect">
            <a:avLst/>
          </a:prstGeom>
          <a:solidFill>
            <a:srgbClr val="81D87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s-CL"/>
            </a:defPPr>
            <a:lvl1pPr>
              <a:defRPr>
                <a:solidFill>
                  <a:schemeClr val="bg1"/>
                </a:solidFill>
              </a:defRPr>
            </a:lvl1pPr>
          </a:lstStyle>
          <a:p>
            <a:pPr algn="ctr"/>
            <a:r>
              <a:rPr lang="es-MX" sz="1200" dirty="0" smtClean="0">
                <a:solidFill>
                  <a:srgbClr val="004C14"/>
                </a:solidFill>
              </a:rPr>
              <a:t>Mejora continua</a:t>
            </a:r>
            <a:endParaRPr lang="es-MX" sz="800" dirty="0">
              <a:solidFill>
                <a:srgbClr val="004C14"/>
              </a:solidFill>
            </a:endParaRPr>
          </a:p>
        </p:txBody>
      </p:sp>
      <p:cxnSp>
        <p:nvCxnSpPr>
          <p:cNvPr id="28" name="Conector recto 27"/>
          <p:cNvCxnSpPr/>
          <p:nvPr/>
        </p:nvCxnSpPr>
        <p:spPr>
          <a:xfrm>
            <a:off x="788411" y="4407220"/>
            <a:ext cx="9674435" cy="0"/>
          </a:xfrm>
          <a:prstGeom prst="line">
            <a:avLst/>
          </a:prstGeom>
          <a:ln/>
        </p:spPr>
        <p:style>
          <a:lnRef idx="3">
            <a:schemeClr val="accent6"/>
          </a:lnRef>
          <a:fillRef idx="0">
            <a:schemeClr val="accent6"/>
          </a:fillRef>
          <a:effectRef idx="2">
            <a:schemeClr val="accent6"/>
          </a:effectRef>
          <a:fontRef idx="minor">
            <a:schemeClr val="tx1"/>
          </a:fontRef>
        </p:style>
      </p:cxnSp>
    </p:spTree>
    <p:custDataLst>
      <p:tags r:id="rId2"/>
    </p:custDataLst>
    <p:extLst>
      <p:ext uri="{BB962C8B-B14F-4D97-AF65-F5344CB8AC3E}">
        <p14:creationId xmlns:p14="http://schemas.microsoft.com/office/powerpoint/2010/main" val="2615533515"/>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ángulo 60"/>
          <p:cNvSpPr/>
          <p:nvPr/>
        </p:nvSpPr>
        <p:spPr>
          <a:xfrm>
            <a:off x="0" y="3282462"/>
            <a:ext cx="12192000" cy="3575538"/>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a:p>
        </p:txBody>
      </p:sp>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1477328"/>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startAt="3"/>
            </a:pPr>
            <a:r>
              <a:rPr lang="es-ES" altLang="es-CL" b="1" dirty="0">
                <a:solidFill>
                  <a:srgbClr val="0FC044"/>
                </a:solidFill>
                <a:latin typeface="ACHS Nueva Sans Medium" pitchFamily="2" charset="0"/>
                <a:cs typeface="Arial" panose="020B0604020202020204" pitchFamily="34" charset="0"/>
              </a:rPr>
              <a:t>Información, formación y capacitación de las personas trabajadoras</a:t>
            </a:r>
          </a:p>
          <a:p>
            <a:pPr algn="just">
              <a:spcBef>
                <a:spcPct val="0"/>
              </a:spcBef>
              <a:buClr>
                <a:srgbClr val="15BF45"/>
              </a:buClr>
            </a:pPr>
            <a:endParaRPr lang="es-ES" altLang="es-CL" b="1" dirty="0">
              <a:solidFill>
                <a:srgbClr val="0FC04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La entidad empleadora tiene la responsabilidad de la información, formación y capacitación de las personas trabajadoras en materias de SST, considerando los riesgos presentes en el lugar de trabajo y su impacto en la salud.</a:t>
            </a:r>
            <a:endParaRPr lang="es-ES" altLang="es-CL" dirty="0">
              <a:solidFill>
                <a:srgbClr val="0FC044"/>
              </a:solidFill>
              <a:latin typeface="ACHS Nueva Sans Medium" pitchFamily="2" charset="0"/>
              <a:cs typeface="Arial" panose="020B0604020202020204" pitchFamily="34"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62" name="Rectángulo 61"/>
          <p:cNvSpPr/>
          <p:nvPr/>
        </p:nvSpPr>
        <p:spPr>
          <a:xfrm>
            <a:off x="2748609" y="3367293"/>
            <a:ext cx="6096000" cy="923330"/>
          </a:xfrm>
          <a:prstGeom prst="rect">
            <a:avLst/>
          </a:prstGeom>
        </p:spPr>
        <p:txBody>
          <a:bodyPr>
            <a:spAutoFit/>
          </a:bodyPr>
          <a:lstStyle/>
          <a:p>
            <a:pPr algn="ctr"/>
            <a:r>
              <a:rPr lang="es-MX" dirty="0">
                <a:solidFill>
                  <a:srgbClr val="004C14"/>
                </a:solidFill>
                <a:latin typeface="ACHS Nueva Sans" pitchFamily="2" charset="0"/>
              </a:rPr>
              <a:t>Esta responsabilidad se puede articular por medio del DPR, CPHS y organizaciones sindicales, dadas las funciones que se establecen</a:t>
            </a:r>
          </a:p>
        </p:txBody>
      </p:sp>
      <p:sp>
        <p:nvSpPr>
          <p:cNvPr id="63" name="Rectángulo 62"/>
          <p:cNvSpPr/>
          <p:nvPr/>
        </p:nvSpPr>
        <p:spPr>
          <a:xfrm>
            <a:off x="2567449" y="6225494"/>
            <a:ext cx="6713366" cy="584775"/>
          </a:xfrm>
          <a:prstGeom prst="rect">
            <a:avLst/>
          </a:prstGeom>
        </p:spPr>
        <p:txBody>
          <a:bodyPr wrap="square">
            <a:spAutoFit/>
          </a:bodyPr>
          <a:lstStyle/>
          <a:p>
            <a:pPr algn="ctr">
              <a:buClr>
                <a:srgbClr val="13C045"/>
              </a:buClr>
            </a:pPr>
            <a:r>
              <a:rPr lang="es-MX" sz="1600" dirty="0">
                <a:solidFill>
                  <a:srgbClr val="004C14"/>
                </a:solidFill>
                <a:latin typeface="ACHS Nueva Sans" pitchFamily="2" charset="0"/>
              </a:rPr>
              <a:t>Obligación de participar en los programas de capacitación y formación para la prevención de los riesgos laborales</a:t>
            </a:r>
          </a:p>
        </p:txBody>
      </p:sp>
      <p:pic>
        <p:nvPicPr>
          <p:cNvPr id="64" name="Imagen 63"/>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74231" y="4307601"/>
            <a:ext cx="1844755" cy="1823354"/>
          </a:xfrm>
          <a:prstGeom prst="rect">
            <a:avLst/>
          </a:prstGeom>
        </p:spPr>
      </p:pic>
    </p:spTree>
    <p:custDataLst>
      <p:tags r:id="rId2"/>
    </p:custDataLst>
    <p:extLst>
      <p:ext uri="{BB962C8B-B14F-4D97-AF65-F5344CB8AC3E}">
        <p14:creationId xmlns:p14="http://schemas.microsoft.com/office/powerpoint/2010/main" val="734245886"/>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1477328"/>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startAt="3"/>
            </a:pPr>
            <a:r>
              <a:rPr lang="es-ES" altLang="es-CL" b="1" dirty="0">
                <a:solidFill>
                  <a:srgbClr val="0FC044"/>
                </a:solidFill>
                <a:latin typeface="ACHS Nueva Sans Medium" pitchFamily="2" charset="0"/>
                <a:cs typeface="Arial" panose="020B0604020202020204" pitchFamily="34" charset="0"/>
              </a:rPr>
              <a:t>Información, formación y capacitación de las personas trabajadoras</a:t>
            </a:r>
          </a:p>
          <a:p>
            <a:pPr algn="just">
              <a:spcBef>
                <a:spcPct val="0"/>
              </a:spcBef>
              <a:buClr>
                <a:srgbClr val="15BF45"/>
              </a:buClr>
            </a:pPr>
            <a:endParaRPr lang="es-ES" altLang="es-CL" b="1" dirty="0">
              <a:solidFill>
                <a:srgbClr val="0FC04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La entidad empleadora tiene la responsabilidad de la información, formación y capacitación de las personas trabajadoras en materias de SST, considerando los riesgos presentes en el lugar de trabajo y su impacto en la salud.</a:t>
            </a:r>
            <a:endParaRPr lang="es-ES" altLang="es-CL" dirty="0">
              <a:solidFill>
                <a:srgbClr val="0FC044"/>
              </a:solidFill>
              <a:latin typeface="ACHS Nueva Sans Medium" pitchFamily="2" charset="0"/>
              <a:cs typeface="Arial" panose="020B0604020202020204" pitchFamily="34"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aphicFrame>
        <p:nvGraphicFramePr>
          <p:cNvPr id="10" name="Tabla 9"/>
          <p:cNvGraphicFramePr>
            <a:graphicFrameLocks noGrp="1"/>
          </p:cNvGraphicFramePr>
          <p:nvPr>
            <p:extLst>
              <p:ext uri="{D42A27DB-BD31-4B8C-83A1-F6EECF244321}">
                <p14:modId xmlns:p14="http://schemas.microsoft.com/office/powerpoint/2010/main" val="433241474"/>
              </p:ext>
            </p:extLst>
          </p:nvPr>
        </p:nvGraphicFramePr>
        <p:xfrm>
          <a:off x="1329067" y="3363262"/>
          <a:ext cx="9079110" cy="3128139"/>
        </p:xfrm>
        <a:graphic>
          <a:graphicData uri="http://schemas.openxmlformats.org/drawingml/2006/table">
            <a:tbl>
              <a:tblPr firstRow="1" bandRow="1">
                <a:tableStyleId>{5C22544A-7EE6-4342-B048-85BDC9FD1C3A}</a:tableStyleId>
              </a:tblPr>
              <a:tblGrid>
                <a:gridCol w="4539555">
                  <a:extLst>
                    <a:ext uri="{9D8B030D-6E8A-4147-A177-3AD203B41FA5}">
                      <a16:colId xmlns="" xmlns:a16="http://schemas.microsoft.com/office/drawing/2014/main" val="20000"/>
                    </a:ext>
                  </a:extLst>
                </a:gridCol>
                <a:gridCol w="4539555">
                  <a:extLst>
                    <a:ext uri="{9D8B030D-6E8A-4147-A177-3AD203B41FA5}">
                      <a16:colId xmlns="" xmlns:a16="http://schemas.microsoft.com/office/drawing/2014/main" val="20001"/>
                    </a:ext>
                  </a:extLst>
                </a:gridCol>
              </a:tblGrid>
              <a:tr h="750699">
                <a:tc>
                  <a:txBody>
                    <a:bodyPr/>
                    <a:lstStyle/>
                    <a:p>
                      <a:pPr algn="ctr"/>
                      <a:r>
                        <a:rPr lang="es-MX" dirty="0">
                          <a:latin typeface="ACHS Nueva Sans" pitchFamily="2" charset="0"/>
                        </a:rPr>
                        <a:t>Información relacionada con los riesgos laborales</a:t>
                      </a:r>
                      <a:endParaRPr lang="es-CL" dirty="0">
                        <a:latin typeface="ACHS Nueva Sans" pitchFamily="2" charset="0"/>
                      </a:endParaRPr>
                    </a:p>
                  </a:txBody>
                  <a:tcPr>
                    <a:lnL w="12700" cap="flat" cmpd="sng" algn="ctr">
                      <a:solidFill>
                        <a:srgbClr val="014B14"/>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solidFill>
                      <a:srgbClr val="014B14"/>
                    </a:solidFill>
                  </a:tcPr>
                </a:tc>
                <a:tc>
                  <a:txBody>
                    <a:bodyPr/>
                    <a:lstStyle/>
                    <a:p>
                      <a:pPr algn="ctr"/>
                      <a:r>
                        <a:rPr lang="es-MX" dirty="0">
                          <a:latin typeface="ACHS Nueva Sans" pitchFamily="2" charset="0"/>
                        </a:rPr>
                        <a:t>Capacitación en prevención de riesgos laborales</a:t>
                      </a:r>
                      <a:endParaRPr lang="es-CL" dirty="0">
                        <a:latin typeface="ACHS Nueva Sans" pitchFamily="2" charset="0"/>
                      </a:endParaRPr>
                    </a:p>
                  </a:txBody>
                  <a:tcPr>
                    <a:lnL w="12700" cap="flat" cmpd="sng" algn="ctr">
                      <a:solidFill>
                        <a:schemeClr val="bg1"/>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solidFill>
                      <a:srgbClr val="014B14"/>
                    </a:solidFill>
                  </a:tcPr>
                </a:tc>
                <a:extLst>
                  <a:ext uri="{0D108BD9-81ED-4DB2-BD59-A6C34878D82A}">
                    <a16:rowId xmlns="" xmlns:a16="http://schemas.microsoft.com/office/drawing/2014/main" val="10000"/>
                  </a:ext>
                </a:extLst>
              </a:tr>
              <a:tr h="370840">
                <a:tc>
                  <a:txBody>
                    <a:bodyPr/>
                    <a:lstStyle/>
                    <a:p>
                      <a:pPr marL="0" algn="just" defTabSz="914400" rtl="0" eaLnBrk="1" latinLnBrk="0" hangingPunct="1"/>
                      <a:r>
                        <a:rPr lang="es-MX" sz="1200" kern="1200" dirty="0">
                          <a:solidFill>
                            <a:schemeClr val="dk1"/>
                          </a:solidFill>
                          <a:latin typeface="ACHS Nueva Sans" pitchFamily="2" charset="0"/>
                          <a:ea typeface="+mn-ea"/>
                          <a:cs typeface="+mn-cs"/>
                        </a:rPr>
                        <a:t>Los riesgos que entrañan sus labores, de las medidas preventivas y los métodos o procedimientos de trabajo correctos.</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tc>
                  <a:txBody>
                    <a:bodyPr/>
                    <a:lstStyle/>
                    <a:p>
                      <a:pPr marL="0" algn="just" defTabSz="914400" rtl="0" eaLnBrk="1" latinLnBrk="0" hangingPunct="1"/>
                      <a:r>
                        <a:rPr lang="es-MX" sz="1200" kern="1200" dirty="0">
                          <a:solidFill>
                            <a:schemeClr val="dk1"/>
                          </a:solidFill>
                          <a:latin typeface="ACHS Nueva Sans" pitchFamily="2" charset="0"/>
                          <a:ea typeface="+mn-ea"/>
                          <a:cs typeface="+mn-cs"/>
                        </a:rPr>
                        <a:t>Curso de capacitación teórica o práctica de al menos 8 horas de duración, acerca de las principales medidas de seguridad y salud que deben tener presente para desempeñar sus labores.</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extLst>
                  <a:ext uri="{0D108BD9-81ED-4DB2-BD59-A6C34878D82A}">
                    <a16:rowId xmlns="" xmlns:a16="http://schemas.microsoft.com/office/drawing/2014/main" val="10001"/>
                  </a:ext>
                </a:extLst>
              </a:tr>
              <a:tr h="370840">
                <a:tc>
                  <a:txBody>
                    <a:bodyPr/>
                    <a:lstStyle/>
                    <a:p>
                      <a:pPr marL="0" algn="just" defTabSz="914400" rtl="0" eaLnBrk="1" latinLnBrk="0" hangingPunct="1"/>
                      <a:r>
                        <a:rPr lang="es-MX" sz="1200" kern="1200" dirty="0">
                          <a:solidFill>
                            <a:schemeClr val="dk1"/>
                          </a:solidFill>
                          <a:latin typeface="ACHS Nueva Sans" pitchFamily="2" charset="0"/>
                          <a:ea typeface="+mn-ea"/>
                          <a:cs typeface="+mn-cs"/>
                        </a:rPr>
                        <a:t>Riesgos derivados del uso de máquinas, equipos y elementos de trabajo.</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tc>
                  <a:txBody>
                    <a:bodyPr/>
                    <a:lstStyle/>
                    <a:p>
                      <a:pPr marL="0" algn="just" defTabSz="914400" rtl="0" eaLnBrk="1" latinLnBrk="0" hangingPunct="1"/>
                      <a:r>
                        <a:rPr lang="es-MX" sz="1200" dirty="0">
                          <a:latin typeface="ACHS Nueva Sans" pitchFamily="2" charset="0"/>
                        </a:rPr>
                        <a:t>Programa de capacitación sobre el uso y mantención de los elementos de protección personal.</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extLst>
                  <a:ext uri="{0D108BD9-81ED-4DB2-BD59-A6C34878D82A}">
                    <a16:rowId xmlns="" xmlns:a16="http://schemas.microsoft.com/office/drawing/2014/main" val="10002"/>
                  </a:ext>
                </a:extLst>
              </a:tr>
              <a:tr h="370840">
                <a:tc>
                  <a:txBody>
                    <a:bodyPr/>
                    <a:lstStyle/>
                    <a:p>
                      <a:pPr marL="0" algn="just" defTabSz="914400" rtl="0" eaLnBrk="1" latinLnBrk="0" hangingPunct="1"/>
                      <a:r>
                        <a:rPr lang="es-MX" sz="1200" kern="1200" dirty="0">
                          <a:solidFill>
                            <a:schemeClr val="dk1"/>
                          </a:solidFill>
                          <a:latin typeface="ACHS Nueva Sans" pitchFamily="2" charset="0"/>
                          <a:ea typeface="+mn-ea"/>
                          <a:cs typeface="+mn-cs"/>
                        </a:rPr>
                        <a:t>Uso correcto y seguro de máquinas, equipos y herramientas que puedan generar riesgo de atrapamiento, corte, lesión y/o amputación.</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tc>
                  <a:txBody>
                    <a:bodyPr/>
                    <a:lstStyle/>
                    <a:p>
                      <a:pPr marL="0" algn="just" defTabSz="914400" rtl="0" eaLnBrk="1" latinLnBrk="0" hangingPunct="1"/>
                      <a:r>
                        <a:rPr lang="es-MX" sz="1200" dirty="0">
                          <a:latin typeface="ACHS Nueva Sans" pitchFamily="2" charset="0"/>
                        </a:rPr>
                        <a:t>Capacitación para el Encargado de la prevención de riesgos laborales.</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extLst>
                  <a:ext uri="{0D108BD9-81ED-4DB2-BD59-A6C34878D82A}">
                    <a16:rowId xmlns="" xmlns:a16="http://schemas.microsoft.com/office/drawing/2014/main" val="10003"/>
                  </a:ext>
                </a:extLst>
              </a:tr>
              <a:tr h="370840">
                <a:tc>
                  <a:txBody>
                    <a:bodyPr/>
                    <a:lstStyle/>
                    <a:p>
                      <a:pPr marL="0" algn="just" defTabSz="914400" rtl="0" eaLnBrk="1" latinLnBrk="0" hangingPunct="1"/>
                      <a:r>
                        <a:rPr lang="es-MX" sz="1200" dirty="0">
                          <a:latin typeface="ACHS Nueva Sans" pitchFamily="2" charset="0"/>
                        </a:rPr>
                        <a:t>Riesgo grave e inminente para la vida o salud de las personas trabajadoras.</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tc>
                  <a:txBody>
                    <a:bodyPr/>
                    <a:lstStyle/>
                    <a:p>
                      <a:pPr marL="0" algn="just" defTabSz="914400" rtl="0" eaLnBrk="1" latinLnBrk="0" hangingPunct="1"/>
                      <a:r>
                        <a:rPr lang="es-MX" sz="1200" dirty="0">
                          <a:latin typeface="ACHS Nueva Sans" pitchFamily="2" charset="0"/>
                        </a:rPr>
                        <a:t>Curso de orientación de prevención de riesgos profesionales para CPHS.</a:t>
                      </a:r>
                      <a:endParaRPr lang="es-CL" sz="1200" kern="1200" dirty="0">
                        <a:solidFill>
                          <a:schemeClr val="dk1"/>
                        </a:solidFill>
                        <a:latin typeface="ACHS Nueva Sans" pitchFamily="2" charset="0"/>
                        <a:ea typeface="+mn-ea"/>
                        <a:cs typeface="+mn-cs"/>
                      </a:endParaRPr>
                    </a:p>
                  </a:txBody>
                  <a:tcPr>
                    <a:lnL w="12700" cap="flat" cmpd="sng" algn="ctr">
                      <a:solidFill>
                        <a:srgbClr val="014B14"/>
                      </a:solidFill>
                      <a:prstDash val="solid"/>
                      <a:round/>
                      <a:headEnd type="none" w="med" len="med"/>
                      <a:tailEnd type="none" w="med" len="med"/>
                    </a:lnL>
                    <a:lnR w="12700" cap="flat" cmpd="sng" algn="ctr">
                      <a:solidFill>
                        <a:srgbClr val="014B14"/>
                      </a:solidFill>
                      <a:prstDash val="solid"/>
                      <a:round/>
                      <a:headEnd type="none" w="med" len="med"/>
                      <a:tailEnd type="none" w="med" len="med"/>
                    </a:lnR>
                    <a:lnT w="12700" cap="flat" cmpd="sng" algn="ctr">
                      <a:solidFill>
                        <a:srgbClr val="014B14"/>
                      </a:solidFill>
                      <a:prstDash val="solid"/>
                      <a:round/>
                      <a:headEnd type="none" w="med" len="med"/>
                      <a:tailEnd type="none" w="med" len="med"/>
                    </a:lnT>
                    <a:lnB w="12700" cap="flat" cmpd="sng" algn="ctr">
                      <a:solidFill>
                        <a:srgbClr val="014B14"/>
                      </a:solidFill>
                      <a:prstDash val="solid"/>
                      <a:round/>
                      <a:headEnd type="none" w="med" len="med"/>
                      <a:tailEnd type="none" w="med" len="med"/>
                    </a:lnB>
                    <a:noFill/>
                  </a:tcPr>
                </a:tc>
                <a:extLst>
                  <a:ext uri="{0D108BD9-81ED-4DB2-BD59-A6C34878D82A}">
                    <a16:rowId xmlns="" xmlns:a16="http://schemas.microsoft.com/office/drawing/2014/main" val="10004"/>
                  </a:ext>
                </a:extLst>
              </a:tr>
            </a:tbl>
          </a:graphicData>
        </a:graphic>
      </p:graphicFrame>
    </p:spTree>
    <p:custDataLst>
      <p:tags r:id="rId2"/>
    </p:custDataLst>
    <p:extLst>
      <p:ext uri="{BB962C8B-B14F-4D97-AF65-F5344CB8AC3E}">
        <p14:creationId xmlns:p14="http://schemas.microsoft.com/office/powerpoint/2010/main" val="183466418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353768"/>
            <a:ext cx="9843472" cy="1477328"/>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startAt="4"/>
            </a:pPr>
            <a:r>
              <a:rPr lang="es-ES" altLang="es-CL" b="1" dirty="0">
                <a:solidFill>
                  <a:srgbClr val="0FC044"/>
                </a:solidFill>
                <a:latin typeface="ACHS Nueva Sans Medium" pitchFamily="2" charset="0"/>
                <a:cs typeface="Arial" panose="020B0604020202020204" pitchFamily="34" charset="0"/>
              </a:rPr>
              <a:t>Gestión de la prevención de riesgos en los lugares de trabajo</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Medium" pitchFamily="2" charset="0"/>
                <a:cs typeface="Arial" panose="020B0604020202020204" pitchFamily="34" charset="0"/>
              </a:rPr>
              <a:t>La entidad empleadora deberá gestionar los riesgos laborales presentes en el lugar de trabajo, de conformidad al reglamento y las demás normas de prevención de riesgos laborales que sean aplicables.</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18" name="Marcador de número de diapositiva 2"/>
          <p:cNvSpPr txBox="1">
            <a:spLocks/>
          </p:cNvSpPr>
          <p:nvPr/>
        </p:nvSpPr>
        <p:spPr>
          <a:xfrm>
            <a:off x="11470908" y="6708280"/>
            <a:ext cx="505443" cy="234000"/>
          </a:xfrm>
          <a:prstGeom prst="rect">
            <a:avLst/>
          </a:prstGeom>
        </p:spPr>
        <p:txBody>
          <a:bodyPr vert="horz" lIns="0" tIns="0" rIns="0" bIns="0" rtlCol="0" anchor="t">
            <a:noAutofit/>
          </a:bodyPr>
          <a:lstStyle>
            <a:defPPr>
              <a:defRPr lang="es-CL"/>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B90B3AC-360D-4C0F-BB2D-EFC963FB8AB1}" type="slidenum">
              <a:rPr kumimoji="0" lang="es-CL" sz="1000" b="0" i="0" u="none" strike="noStrike" kern="1200" cap="none" spc="0" normalizeH="0" baseline="0" noProof="0" smtClean="0">
                <a:ln>
                  <a:noFill/>
                </a:ln>
                <a:solidFill>
                  <a:srgbClr val="000000"/>
                </a:solidFill>
                <a:effectLst/>
                <a:uLnTx/>
                <a:uFillTx/>
                <a:latin typeface="ACHS Nueva Sans"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s-CL" sz="1000" b="0" i="0" u="none" strike="noStrike" kern="1200" cap="none" spc="0" normalizeH="0" baseline="0" noProof="0" dirty="0">
              <a:ln>
                <a:noFill/>
              </a:ln>
              <a:solidFill>
                <a:srgbClr val="000000"/>
              </a:solidFill>
              <a:effectLst/>
              <a:uLnTx/>
              <a:uFillTx/>
              <a:latin typeface="ACHS Nueva Sans" pitchFamily="2" charset="0"/>
            </a:endParaRPr>
          </a:p>
        </p:txBody>
      </p:sp>
      <p:sp>
        <p:nvSpPr>
          <p:cNvPr id="19" name="Rectángulo 18"/>
          <p:cNvSpPr/>
          <p:nvPr/>
        </p:nvSpPr>
        <p:spPr>
          <a:xfrm>
            <a:off x="1" y="2831096"/>
            <a:ext cx="12192000" cy="4026904"/>
          </a:xfrm>
          <a:prstGeom prst="rect">
            <a:avLst/>
          </a:prstGeom>
          <a:solidFill>
            <a:srgbClr val="004C14">
              <a:lumMod val="10000"/>
              <a:lumOff val="90000"/>
            </a:srgbClr>
          </a:solid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err="1">
              <a:ln>
                <a:noFill/>
              </a:ln>
              <a:solidFill>
                <a:prstClr val="white"/>
              </a:solidFill>
              <a:effectLst/>
              <a:uLnTx/>
              <a:uFillTx/>
              <a:latin typeface="ACHS Nueva Sans" pitchFamily="2" charset="0"/>
            </a:endParaRPr>
          </a:p>
        </p:txBody>
      </p:sp>
      <p:sp>
        <p:nvSpPr>
          <p:cNvPr id="20" name="Pentágono 19"/>
          <p:cNvSpPr/>
          <p:nvPr/>
        </p:nvSpPr>
        <p:spPr>
          <a:xfrm>
            <a:off x="253619" y="3275892"/>
            <a:ext cx="7174534" cy="2069123"/>
          </a:xfrm>
          <a:prstGeom prst="homePlate">
            <a:avLst>
              <a:gd name="adj" fmla="val 15156"/>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err="1">
              <a:ln>
                <a:noFill/>
              </a:ln>
              <a:solidFill>
                <a:prstClr val="white"/>
              </a:solidFill>
              <a:effectLst/>
              <a:uLnTx/>
              <a:uFillTx/>
              <a:latin typeface="ACHS Nueva Sans" pitchFamily="2" charset="0"/>
            </a:endParaRPr>
          </a:p>
        </p:txBody>
      </p:sp>
      <p:sp>
        <p:nvSpPr>
          <p:cNvPr id="21" name="CuadroTexto 20"/>
          <p:cNvSpPr txBox="1">
            <a:spLocks/>
          </p:cNvSpPr>
          <p:nvPr/>
        </p:nvSpPr>
        <p:spPr>
          <a:xfrm>
            <a:off x="457365" y="3748388"/>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Matriz de identificación de peligros y evaluación de riesgos</a:t>
            </a:r>
          </a:p>
        </p:txBody>
      </p:sp>
      <p:sp>
        <p:nvSpPr>
          <p:cNvPr id="22" name="CuadroTexto 21"/>
          <p:cNvSpPr txBox="1">
            <a:spLocks/>
          </p:cNvSpPr>
          <p:nvPr/>
        </p:nvSpPr>
        <p:spPr>
          <a:xfrm>
            <a:off x="2747598" y="3744436"/>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Programa de trabajo en prevención de riesgos laborales</a:t>
            </a:r>
          </a:p>
        </p:txBody>
      </p:sp>
      <p:sp>
        <p:nvSpPr>
          <p:cNvPr id="23" name="CuadroTexto 22"/>
          <p:cNvSpPr txBox="1">
            <a:spLocks/>
          </p:cNvSpPr>
          <p:nvPr/>
        </p:nvSpPr>
        <p:spPr>
          <a:xfrm>
            <a:off x="5037831" y="3738815"/>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8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Evaluación del cumplimiento del programa de trabajo preventivo</a:t>
            </a:r>
          </a:p>
        </p:txBody>
      </p:sp>
      <p:sp>
        <p:nvSpPr>
          <p:cNvPr id="24" name="CuadroTexto 23"/>
          <p:cNvSpPr txBox="1">
            <a:spLocks/>
          </p:cNvSpPr>
          <p:nvPr/>
        </p:nvSpPr>
        <p:spPr>
          <a:xfrm>
            <a:off x="7662159" y="3346251"/>
            <a:ext cx="1966512" cy="576000"/>
          </a:xfrm>
          <a:prstGeom prst="round2DiagRect">
            <a:avLst/>
          </a:prstGeom>
          <a:solidFill>
            <a:srgbClr val="004C14"/>
          </a:solidFill>
          <a:ln>
            <a:noFill/>
          </a:ln>
        </p:spPr>
        <p:txBody>
          <a:bodyPr wrap="square" rtlCol="0" anchor="ctr">
            <a:noAutofit/>
          </a:bodyPr>
          <a:lstStyle>
            <a:defPPr>
              <a:defRPr lang="es-CL"/>
            </a:defPPr>
            <a:lvl1pPr algn="ctr">
              <a:defRPr sz="1000">
                <a:solidFill>
                  <a:schemeClr val="bg1"/>
                </a:solidFill>
              </a:defRPr>
            </a:lvl1pPr>
          </a:lstStyle>
          <a:p>
            <a:pPr algn="l"/>
            <a:r>
              <a:rPr lang="es-MX" sz="900" dirty="0">
                <a:solidFill>
                  <a:prstClr val="white"/>
                </a:solidFill>
                <a:latin typeface="ACHS Nueva Sans" pitchFamily="2" charset="0"/>
              </a:rPr>
              <a:t>Información de los riesgos laborales</a:t>
            </a:r>
          </a:p>
        </p:txBody>
      </p:sp>
      <p:sp>
        <p:nvSpPr>
          <p:cNvPr id="25" name="CuadroTexto 24"/>
          <p:cNvSpPr txBox="1">
            <a:spLocks/>
          </p:cNvSpPr>
          <p:nvPr/>
        </p:nvSpPr>
        <p:spPr>
          <a:xfrm>
            <a:off x="7672807" y="4007829"/>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8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Capacitación en prevención de riesgos laborales</a:t>
            </a:r>
            <a:r>
              <a:rPr kumimoji="0" lang="es-MX" sz="900" b="1" i="0" u="none" strike="noStrike" kern="0" cap="none" spc="0" normalizeH="0" baseline="30000" noProof="0" dirty="0">
                <a:ln>
                  <a:noFill/>
                </a:ln>
                <a:solidFill>
                  <a:srgbClr val="13C045"/>
                </a:solidFill>
                <a:effectLst/>
                <a:uLnTx/>
                <a:uFillTx/>
                <a:latin typeface="ACHS Nueva Sans" pitchFamily="2" charset="0"/>
              </a:rPr>
              <a:t> </a:t>
            </a:r>
            <a:endParaRPr kumimoji="0" lang="es-MX" sz="900" b="1" i="0" u="none" strike="noStrike" kern="0" cap="none" spc="0" normalizeH="0" baseline="0" noProof="0" dirty="0">
              <a:ln>
                <a:noFill/>
              </a:ln>
              <a:solidFill>
                <a:srgbClr val="004C14"/>
              </a:solidFill>
              <a:effectLst/>
              <a:uLnTx/>
              <a:uFillTx/>
              <a:latin typeface="ACHS Nueva Sans" pitchFamily="2" charset="0"/>
            </a:endParaRPr>
          </a:p>
        </p:txBody>
      </p:sp>
      <p:sp>
        <p:nvSpPr>
          <p:cNvPr id="26" name="CuadroTexto 25"/>
          <p:cNvSpPr txBox="1">
            <a:spLocks/>
          </p:cNvSpPr>
          <p:nvPr/>
        </p:nvSpPr>
        <p:spPr>
          <a:xfrm>
            <a:off x="253619" y="5924663"/>
            <a:ext cx="8649146" cy="576000"/>
          </a:xfrm>
          <a:prstGeom prst="rect">
            <a:avLst/>
          </a:prstGeom>
          <a:noFill/>
          <a:ln w="12700" cap="flat" cmpd="sng" algn="ctr">
            <a:noFill/>
            <a:prstDash val="solid"/>
            <a:miter lim="800000"/>
          </a:ln>
          <a:effectLst/>
        </p:spPr>
        <p:txBody>
          <a:bodyPr wrap="square" rtlCol="0" anchor="ctr">
            <a:noAutofit/>
          </a:bodyPr>
          <a:lstStyle>
            <a:defPPr>
              <a:defRPr lang="es-CL"/>
            </a:defPPr>
            <a:lvl1pPr>
              <a:defRPr sz="8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0" cap="none" spc="0" normalizeH="0" baseline="0" noProof="0" dirty="0">
                <a:ln>
                  <a:noFill/>
                </a:ln>
                <a:solidFill>
                  <a:srgbClr val="004C14"/>
                </a:solidFill>
                <a:effectLst/>
                <a:uLnTx/>
                <a:uFillTx/>
                <a:latin typeface="ACHS Nueva Sans" pitchFamily="2" charset="0"/>
              </a:rPr>
              <a:t>Reglamento Interno de Higiene y Seguridad y </a:t>
            </a:r>
            <a:r>
              <a:rPr kumimoji="0" lang="es-CL" sz="1200" b="0" i="0" u="none" strike="noStrike" kern="0" cap="none" spc="0" normalizeH="0" baseline="0" noProof="0" dirty="0">
                <a:ln>
                  <a:noFill/>
                </a:ln>
                <a:solidFill>
                  <a:srgbClr val="004C14"/>
                </a:solidFill>
                <a:effectLst/>
                <a:uLnTx/>
                <a:uFillTx/>
                <a:latin typeface="ACHS Nueva Sans" pitchFamily="2" charset="0"/>
              </a:rPr>
              <a:t>Mapas de riesgos laborales (transversal).</a:t>
            </a:r>
            <a:endParaRPr kumimoji="0" lang="es-CL" sz="1200" b="0" i="0" u="none" strike="noStrike" kern="0" cap="none" spc="0" normalizeH="0" baseline="30000" noProof="0" dirty="0">
              <a:ln>
                <a:noFill/>
              </a:ln>
              <a:solidFill>
                <a:srgbClr val="004C14"/>
              </a:solidFill>
              <a:effectLst/>
              <a:uLnTx/>
              <a:uFillTx/>
              <a:latin typeface="ACHS Nueva Sans" pitchFamily="2"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0" cap="none" spc="0" normalizeH="0" baseline="0" noProof="0" dirty="0">
                <a:ln>
                  <a:noFill/>
                </a:ln>
                <a:solidFill>
                  <a:srgbClr val="004C14"/>
                </a:solidFill>
                <a:effectLst/>
                <a:uLnTx/>
                <a:uFillTx/>
                <a:latin typeface="ACHS Nueva Sans" pitchFamily="2" charset="0"/>
              </a:rPr>
              <a:t>Consulta y participación de los representantes de las personas trabajadoras en la gestión de SST (Cuando corresponda).</a:t>
            </a:r>
            <a:r>
              <a:rPr kumimoji="0" lang="es-MX" sz="1200" b="0" i="0" u="none" strike="noStrike" kern="0" cap="none" spc="0" normalizeH="0" baseline="30000" noProof="0" dirty="0">
                <a:ln>
                  <a:noFill/>
                </a:ln>
                <a:solidFill>
                  <a:srgbClr val="13C045"/>
                </a:solidFill>
                <a:effectLst/>
                <a:uLnTx/>
                <a:uFillTx/>
                <a:latin typeface="ACHS Nueva Sans" pitchFamily="2" charset="0"/>
              </a:rPr>
              <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0" cap="none" spc="0" normalizeH="0" baseline="0" noProof="0" dirty="0">
                <a:ln>
                  <a:noFill/>
                </a:ln>
                <a:solidFill>
                  <a:srgbClr val="004C14"/>
                </a:solidFill>
                <a:effectLst/>
                <a:uLnTx/>
                <a:uFillTx/>
                <a:latin typeface="ACHS Nueva Sans" pitchFamily="2" charset="0"/>
              </a:rPr>
              <a:t>Coordinación y cooperación de la actividad preventiva de entidades empleadoras que comparten un mismo lugar de trabajo (Cuando corresponda).</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200" b="0" i="0" u="none" strike="noStrike" kern="0" cap="none" spc="0" normalizeH="0" baseline="0" noProof="0" dirty="0">
              <a:ln>
                <a:noFill/>
              </a:ln>
              <a:solidFill>
                <a:srgbClr val="004C14"/>
              </a:solidFill>
              <a:effectLst/>
              <a:uLnTx/>
              <a:uFillTx/>
              <a:latin typeface="ACHS Nueva Sans" pitchFamily="2" charset="0"/>
            </a:endParaRPr>
          </a:p>
        </p:txBody>
      </p:sp>
      <p:sp>
        <p:nvSpPr>
          <p:cNvPr id="27" name="CuadroTexto 26"/>
          <p:cNvSpPr txBox="1">
            <a:spLocks/>
          </p:cNvSpPr>
          <p:nvPr/>
        </p:nvSpPr>
        <p:spPr>
          <a:xfrm>
            <a:off x="457365" y="4595567"/>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Plan de gestión, reducción y respuesta en caso de emergencias, catástrofes o desastres</a:t>
            </a:r>
          </a:p>
        </p:txBody>
      </p:sp>
      <p:cxnSp>
        <p:nvCxnSpPr>
          <p:cNvPr id="28" name="Conector recto de flecha 27"/>
          <p:cNvCxnSpPr/>
          <p:nvPr/>
        </p:nvCxnSpPr>
        <p:spPr>
          <a:xfrm rot="16200000">
            <a:off x="2578854" y="3914307"/>
            <a:ext cx="0" cy="225016"/>
          </a:xfrm>
          <a:prstGeom prst="straightConnector1">
            <a:avLst/>
          </a:prstGeom>
          <a:noFill/>
          <a:ln w="6350" cap="flat" cmpd="sng" algn="ctr">
            <a:solidFill>
              <a:srgbClr val="13C045"/>
            </a:solidFill>
            <a:prstDash val="solid"/>
            <a:miter lim="800000"/>
            <a:tailEnd type="triangle"/>
          </a:ln>
          <a:effectLst/>
        </p:spPr>
      </p:cxnSp>
      <p:sp>
        <p:nvSpPr>
          <p:cNvPr id="29" name="CuadroTexto 28"/>
          <p:cNvSpPr txBox="1">
            <a:spLocks/>
          </p:cNvSpPr>
          <p:nvPr/>
        </p:nvSpPr>
        <p:spPr>
          <a:xfrm>
            <a:off x="9821770" y="3997158"/>
            <a:ext cx="1966512" cy="576000"/>
          </a:xfrm>
          <a:prstGeom prst="round2DiagRect">
            <a:avLst/>
          </a:prstGeom>
          <a:solidFill>
            <a:srgbClr val="004C14"/>
          </a:solidFill>
          <a:ln>
            <a:solidFill>
              <a:srgbClr val="004C14"/>
            </a:solidFill>
          </a:ln>
        </p:spPr>
        <p:txBody>
          <a:bodyPr wrap="square" rtlCol="0" anchor="ctr">
            <a:noAutofit/>
          </a:bodyPr>
          <a:lstStyle>
            <a:defPPr>
              <a:defRPr lang="es-CL"/>
            </a:defPPr>
            <a:lvl1pPr algn="ctr">
              <a:defRPr sz="1000">
                <a:solidFill>
                  <a:schemeClr val="bg1"/>
                </a:solidFill>
              </a:defRPr>
            </a:lvl1pPr>
          </a:lstStyle>
          <a:p>
            <a:pPr algn="l"/>
            <a:r>
              <a:rPr lang="es-MX" sz="900" dirty="0">
                <a:solidFill>
                  <a:prstClr val="white"/>
                </a:solidFill>
                <a:latin typeface="ACHS Nueva Sans" pitchFamily="2" charset="0"/>
              </a:rPr>
              <a:t>Investigación de las causas de accidentes del trabajo y enfermedades profesionales</a:t>
            </a:r>
          </a:p>
        </p:txBody>
      </p:sp>
      <p:sp>
        <p:nvSpPr>
          <p:cNvPr id="30" name="CuadroTexto 29"/>
          <p:cNvSpPr txBox="1">
            <a:spLocks/>
          </p:cNvSpPr>
          <p:nvPr/>
        </p:nvSpPr>
        <p:spPr>
          <a:xfrm>
            <a:off x="9821770" y="3330404"/>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Registro de la actividad preventiva</a:t>
            </a:r>
          </a:p>
        </p:txBody>
      </p:sp>
      <p:sp>
        <p:nvSpPr>
          <p:cNvPr id="31" name="CuadroTexto 30"/>
          <p:cNvSpPr txBox="1">
            <a:spLocks/>
          </p:cNvSpPr>
          <p:nvPr/>
        </p:nvSpPr>
        <p:spPr>
          <a:xfrm>
            <a:off x="9821770" y="4656186"/>
            <a:ext cx="1966512" cy="576000"/>
          </a:xfrm>
          <a:prstGeom prst="round2DiagRect">
            <a:avLst/>
          </a:prstGeom>
          <a:solidFill>
            <a:srgbClr val="004C14"/>
          </a:solidFill>
          <a:ln>
            <a:solidFill>
              <a:srgbClr val="004C14"/>
            </a:solidFill>
          </a:ln>
        </p:spPr>
        <p:txBody>
          <a:bodyPr wrap="square" rtlCol="0" anchor="ctr">
            <a:noAutofit/>
          </a:bodyPr>
          <a:lstStyle>
            <a:defPPr>
              <a:defRPr lang="es-CL"/>
            </a:defPPr>
            <a:lvl1pPr>
              <a:defRPr sz="9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s-MX" dirty="0">
                <a:solidFill>
                  <a:prstClr val="white"/>
                </a:solidFill>
                <a:latin typeface="ACHS Nueva Sans" pitchFamily="2" charset="0"/>
              </a:rPr>
              <a:t>Registro y estadística de SST</a:t>
            </a:r>
          </a:p>
        </p:txBody>
      </p:sp>
      <p:cxnSp>
        <p:nvCxnSpPr>
          <p:cNvPr id="32" name="Conector recto de flecha 31"/>
          <p:cNvCxnSpPr/>
          <p:nvPr/>
        </p:nvCxnSpPr>
        <p:spPr>
          <a:xfrm rot="16200000">
            <a:off x="4884142" y="3907393"/>
            <a:ext cx="0" cy="225016"/>
          </a:xfrm>
          <a:prstGeom prst="straightConnector1">
            <a:avLst/>
          </a:prstGeom>
          <a:noFill/>
          <a:ln w="6350" cap="flat" cmpd="sng" algn="ctr">
            <a:solidFill>
              <a:srgbClr val="13C045"/>
            </a:solidFill>
            <a:prstDash val="solid"/>
            <a:miter lim="800000"/>
            <a:tailEnd type="triangle"/>
          </a:ln>
          <a:effectLst/>
        </p:spPr>
      </p:cxnSp>
      <p:sp>
        <p:nvSpPr>
          <p:cNvPr id="33" name="CuadroTexto 32"/>
          <p:cNvSpPr txBox="1">
            <a:spLocks/>
          </p:cNvSpPr>
          <p:nvPr/>
        </p:nvSpPr>
        <p:spPr>
          <a:xfrm>
            <a:off x="7672807" y="4666323"/>
            <a:ext cx="1966512" cy="576000"/>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900" b="1" i="0" u="none" strike="noStrike" kern="0" cap="none" spc="0" normalizeH="0" baseline="0" noProof="0" dirty="0">
                <a:ln>
                  <a:noFill/>
                </a:ln>
                <a:solidFill>
                  <a:srgbClr val="004C14"/>
                </a:solidFill>
                <a:effectLst/>
                <a:uLnTx/>
                <a:uFillTx/>
                <a:latin typeface="ACHS Nueva Sans" pitchFamily="2" charset="0"/>
              </a:rPr>
              <a:t>Vigilancia del ambiente, de la salud de las personas trabajadoras y los exámenes ocupacionales</a:t>
            </a:r>
          </a:p>
        </p:txBody>
      </p:sp>
      <p:sp>
        <p:nvSpPr>
          <p:cNvPr id="34" name="CuadroTexto 33"/>
          <p:cNvSpPr txBox="1">
            <a:spLocks/>
          </p:cNvSpPr>
          <p:nvPr/>
        </p:nvSpPr>
        <p:spPr>
          <a:xfrm>
            <a:off x="9019264" y="6344449"/>
            <a:ext cx="2769018" cy="353954"/>
          </a:xfrm>
          <a:prstGeom prst="round2DiagRect">
            <a:avLst/>
          </a:prstGeom>
          <a:solidFill>
            <a:srgbClr val="81D877"/>
          </a:solidFill>
          <a:ln w="12700" cap="flat" cmpd="sng" algn="ctr">
            <a:noFill/>
            <a:prstDash val="solid"/>
            <a:miter lim="800000"/>
          </a:ln>
          <a:effectLst/>
        </p:spPr>
        <p:txBody>
          <a:bodyPr wrap="square" rtlCol="0" anchor="ctr">
            <a:noAutofit/>
          </a:bodyPr>
          <a:lstStyle>
            <a:defPPr>
              <a:defRPr lang="es-CL"/>
            </a:defPPr>
            <a:lvl1pPr>
              <a:defRPr sz="900">
                <a:solidFill>
                  <a:srgbClr val="004C1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C14"/>
                </a:solidFill>
                <a:effectLst/>
                <a:uLnTx/>
                <a:uFillTx/>
                <a:latin typeface="ACHS Nueva Sans" pitchFamily="2" charset="0"/>
              </a:rPr>
              <a:t>Corresponden a requisitos exigidos explícitamente por el nuevo reglamento. </a:t>
            </a:r>
            <a:endParaRPr kumimoji="0" lang="es-CL" sz="800" b="1" i="0" u="none" strike="noStrike" kern="0" cap="none" spc="0" normalizeH="0" baseline="0" noProof="0" dirty="0" err="1">
              <a:ln>
                <a:noFill/>
              </a:ln>
              <a:solidFill>
                <a:srgbClr val="004C14"/>
              </a:solidFill>
              <a:effectLst/>
              <a:uLnTx/>
              <a:uFillTx/>
              <a:latin typeface="ACHS Nueva Sans" pitchFamily="2" charset="0"/>
            </a:endParaRPr>
          </a:p>
        </p:txBody>
      </p:sp>
      <p:sp>
        <p:nvSpPr>
          <p:cNvPr id="35" name="Rectángulo 34"/>
          <p:cNvSpPr/>
          <p:nvPr/>
        </p:nvSpPr>
        <p:spPr>
          <a:xfrm>
            <a:off x="3391645" y="2872343"/>
            <a:ext cx="3692949" cy="338554"/>
          </a:xfrm>
          <a:prstGeom prst="rect">
            <a:avLst/>
          </a:prstGeom>
        </p:spPr>
        <p:txBody>
          <a:bodyPr wrap="square">
            <a:spAutoFit/>
          </a:bodyPr>
          <a:lstStyle/>
          <a:p>
            <a:pPr algn="ctr"/>
            <a:r>
              <a:rPr lang="es-MX" sz="1600" b="1" dirty="0">
                <a:solidFill>
                  <a:srgbClr val="004C14"/>
                </a:solidFill>
                <a:latin typeface="ACHS Nueva Sans" pitchFamily="2" charset="0"/>
              </a:rPr>
              <a:t>Procesos de gestión de riesgos</a:t>
            </a:r>
          </a:p>
        </p:txBody>
      </p:sp>
      <p:sp>
        <p:nvSpPr>
          <p:cNvPr id="37" name="Rectángulo 36"/>
          <p:cNvSpPr/>
          <p:nvPr/>
        </p:nvSpPr>
        <p:spPr>
          <a:xfrm>
            <a:off x="393848" y="3495752"/>
            <a:ext cx="3692949" cy="276999"/>
          </a:xfrm>
          <a:prstGeom prst="rect">
            <a:avLst/>
          </a:prstGeom>
        </p:spPr>
        <p:txBody>
          <a:bodyPr wrap="square">
            <a:spAutoFit/>
          </a:bodyPr>
          <a:lstStyle/>
          <a:p>
            <a:r>
              <a:rPr lang="es-MX" sz="1200" b="1" dirty="0">
                <a:solidFill>
                  <a:srgbClr val="004C14"/>
                </a:solidFill>
                <a:latin typeface="ACHS Nueva Sans" pitchFamily="2" charset="0"/>
              </a:rPr>
              <a:t>Gestión de riesgos de SST</a:t>
            </a:r>
          </a:p>
        </p:txBody>
      </p:sp>
      <p:sp>
        <p:nvSpPr>
          <p:cNvPr id="38" name="Rectángulo 37"/>
          <p:cNvSpPr/>
          <p:nvPr/>
        </p:nvSpPr>
        <p:spPr>
          <a:xfrm>
            <a:off x="425607" y="4340004"/>
            <a:ext cx="3692949" cy="276999"/>
          </a:xfrm>
          <a:prstGeom prst="rect">
            <a:avLst/>
          </a:prstGeom>
        </p:spPr>
        <p:txBody>
          <a:bodyPr wrap="square">
            <a:spAutoFit/>
          </a:bodyPr>
          <a:lstStyle/>
          <a:p>
            <a:r>
              <a:rPr lang="es-MX" sz="1200" b="1" dirty="0">
                <a:solidFill>
                  <a:srgbClr val="004C14"/>
                </a:solidFill>
                <a:latin typeface="ACHS Nueva Sans" pitchFamily="2" charset="0"/>
              </a:rPr>
              <a:t>Gestión de riesgos de desastres</a:t>
            </a:r>
          </a:p>
        </p:txBody>
      </p:sp>
      <p:sp>
        <p:nvSpPr>
          <p:cNvPr id="39" name="CuadroTexto 38"/>
          <p:cNvSpPr txBox="1">
            <a:spLocks/>
          </p:cNvSpPr>
          <p:nvPr/>
        </p:nvSpPr>
        <p:spPr>
          <a:xfrm>
            <a:off x="9021186" y="5915249"/>
            <a:ext cx="2769018" cy="378058"/>
          </a:xfrm>
          <a:prstGeom prst="round2DiagRect">
            <a:avLst/>
          </a:prstGeom>
          <a:solidFill>
            <a:srgbClr val="004C14"/>
          </a:solidFill>
          <a:ln>
            <a:noFill/>
          </a:ln>
        </p:spPr>
        <p:txBody>
          <a:bodyPr wrap="square" rtlCol="0" anchor="ctr">
            <a:noAutofit/>
          </a:bodyPr>
          <a:lstStyle>
            <a:defPPr>
              <a:defRPr lang="es-CL"/>
            </a:defPPr>
            <a:lvl1pPr>
              <a:defRPr sz="900">
                <a:solidFill>
                  <a:schemeClr val="bg1"/>
                </a:solidFill>
              </a:defRPr>
            </a:lvl1pPr>
          </a:lstStyle>
          <a:p>
            <a:r>
              <a:rPr lang="es-MX" sz="800" dirty="0">
                <a:solidFill>
                  <a:prstClr val="white"/>
                </a:solidFill>
                <a:latin typeface="ACHS Nueva Sans" pitchFamily="2" charset="0"/>
              </a:rPr>
              <a:t>Corresponden a requisitos normativos ya exigidos que permanecerán vigentes.</a:t>
            </a:r>
            <a:endParaRPr lang="es-CL" sz="800" dirty="0" err="1">
              <a:solidFill>
                <a:prstClr val="white"/>
              </a:solidFill>
              <a:latin typeface="ACHS Nueva Sans" pitchFamily="2" charset="0"/>
            </a:endParaRPr>
          </a:p>
        </p:txBody>
      </p:sp>
    </p:spTree>
    <p:custDataLst>
      <p:tags r:id="rId2"/>
    </p:custDataLst>
    <p:extLst>
      <p:ext uri="{BB962C8B-B14F-4D97-AF65-F5344CB8AC3E}">
        <p14:creationId xmlns:p14="http://schemas.microsoft.com/office/powerpoint/2010/main" val="926799737"/>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353768"/>
            <a:ext cx="9843472" cy="1754326"/>
          </a:xfrm>
          <a:prstGeom prst="rect">
            <a:avLst/>
          </a:prstGeom>
          <a:noFill/>
        </p:spPr>
        <p:txBody>
          <a:bodyPr wrap="square" lIns="91440" tIns="45720" rIns="91440" bIns="45720" rtlCol="0" anchor="t">
            <a:spAutoFit/>
          </a:bodyPr>
          <a:lstStyle/>
          <a:p>
            <a:pPr marL="342900" indent="-342900" algn="just">
              <a:spcBef>
                <a:spcPct val="0"/>
              </a:spcBef>
              <a:buClr>
                <a:srgbClr val="15BF45"/>
              </a:buClr>
              <a:buFont typeface="+mj-lt"/>
              <a:buAutoNum type="alphaUcPeriod" startAt="4"/>
            </a:pPr>
            <a:r>
              <a:rPr lang="es-CL" altLang="es-CL" b="1" dirty="0">
                <a:solidFill>
                  <a:srgbClr val="0FC044"/>
                </a:solidFill>
                <a:latin typeface="ACHS Nueva Sans Medium" pitchFamily="2" charset="0"/>
                <a:cs typeface="Arial" panose="020B0604020202020204" pitchFamily="34" charset="0"/>
              </a:rPr>
              <a:t>Plan de gestión de riesgos de emergencias, catástrofes o desastres en los lugares de trabajo. </a:t>
            </a:r>
          </a:p>
          <a:p>
            <a:pPr algn="just">
              <a:spcBef>
                <a:spcPct val="0"/>
              </a:spcBef>
              <a:buClr>
                <a:srgbClr val="15BF45"/>
              </a:buClr>
            </a:pPr>
            <a:endParaRPr lang="es-ES"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CL" altLang="es-CL" dirty="0">
                <a:solidFill>
                  <a:srgbClr val="014B14"/>
                </a:solidFill>
                <a:latin typeface="ACHS Nueva Sans Medium" pitchFamily="2" charset="0"/>
                <a:cs typeface="Arial" panose="020B0604020202020204" pitchFamily="34" charset="0"/>
              </a:rPr>
              <a:t>La entidad empleadora deberá contar con uno o más planes de gestión, reducción y respuesta de los riesgos en caso de emergencias, catástrofes o desastres u otros eventos o incidentes conocidos, probables y previsibles.</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incipales ejes para el logro de los objetivo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2" name="Grupo 1">
            <a:extLst>
              <a:ext uri="{FF2B5EF4-FFF2-40B4-BE49-F238E27FC236}">
                <a16:creationId xmlns="" xmlns:a16="http://schemas.microsoft.com/office/drawing/2014/main" id="{F152676A-59F4-E5DB-1AD1-0C472A0794B3}"/>
              </a:ext>
            </a:extLst>
          </p:cNvPr>
          <p:cNvGrpSpPr/>
          <p:nvPr/>
        </p:nvGrpSpPr>
        <p:grpSpPr>
          <a:xfrm>
            <a:off x="4158852" y="3349188"/>
            <a:ext cx="1937148" cy="530323"/>
            <a:chOff x="6387848" y="3429000"/>
            <a:chExt cx="2952000" cy="780326"/>
          </a:xfrm>
        </p:grpSpPr>
        <p:sp>
          <p:nvSpPr>
            <p:cNvPr id="4" name="Rectángulo redondeado 10">
              <a:extLst>
                <a:ext uri="{FF2B5EF4-FFF2-40B4-BE49-F238E27FC236}">
                  <a16:creationId xmlns="" xmlns:a16="http://schemas.microsoft.com/office/drawing/2014/main" id="{B7E6E1AF-FE30-5291-E6F3-8CB500091102}"/>
                </a:ext>
              </a:extLst>
            </p:cNvPr>
            <p:cNvSpPr/>
            <p:nvPr/>
          </p:nvSpPr>
          <p:spPr>
            <a:xfrm>
              <a:off x="6387848" y="3429000"/>
              <a:ext cx="2952000" cy="780326"/>
            </a:xfrm>
            <a:prstGeom prst="roundRect">
              <a:avLst/>
            </a:prstGeom>
            <a:solidFill>
              <a:srgbClr val="EAEADE"/>
            </a:solidFill>
            <a:ln w="12700" cap="flat" cmpd="sng" algn="ctr">
              <a:solidFill>
                <a:srgbClr val="014B14"/>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5" name="Rectángulo 4">
              <a:extLst>
                <a:ext uri="{FF2B5EF4-FFF2-40B4-BE49-F238E27FC236}">
                  <a16:creationId xmlns="" xmlns:a16="http://schemas.microsoft.com/office/drawing/2014/main" id="{92AC8AED-04AB-4F58-4059-6F7FB5B9669F}"/>
                </a:ext>
              </a:extLst>
            </p:cNvPr>
            <p:cNvSpPr/>
            <p:nvPr/>
          </p:nvSpPr>
          <p:spPr>
            <a:xfrm>
              <a:off x="6714232" y="3575622"/>
              <a:ext cx="2324264" cy="452868"/>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Diagnóstico</a:t>
              </a:r>
            </a:p>
          </p:txBody>
        </p:sp>
      </p:grpSp>
      <p:grpSp>
        <p:nvGrpSpPr>
          <p:cNvPr id="7" name="Grupo 6">
            <a:extLst>
              <a:ext uri="{FF2B5EF4-FFF2-40B4-BE49-F238E27FC236}">
                <a16:creationId xmlns="" xmlns:a16="http://schemas.microsoft.com/office/drawing/2014/main" id="{980BA7B3-FBD5-5F04-3D03-BB30CE258BBB}"/>
              </a:ext>
            </a:extLst>
          </p:cNvPr>
          <p:cNvGrpSpPr/>
          <p:nvPr/>
        </p:nvGrpSpPr>
        <p:grpSpPr>
          <a:xfrm>
            <a:off x="5067565" y="4166961"/>
            <a:ext cx="1937148" cy="538397"/>
            <a:chOff x="6387848" y="3417120"/>
            <a:chExt cx="2952000" cy="792206"/>
          </a:xfrm>
        </p:grpSpPr>
        <p:sp>
          <p:nvSpPr>
            <p:cNvPr id="8" name="Rectángulo redondeado 13">
              <a:extLst>
                <a:ext uri="{FF2B5EF4-FFF2-40B4-BE49-F238E27FC236}">
                  <a16:creationId xmlns="" xmlns:a16="http://schemas.microsoft.com/office/drawing/2014/main" id="{3AA4371F-9F97-07AC-503E-60C88E08504D}"/>
                </a:ext>
              </a:extLst>
            </p:cNvPr>
            <p:cNvSpPr/>
            <p:nvPr/>
          </p:nvSpPr>
          <p:spPr>
            <a:xfrm>
              <a:off x="6387848" y="3429000"/>
              <a:ext cx="2952000" cy="780326"/>
            </a:xfrm>
            <a:prstGeom prst="roundRect">
              <a:avLst/>
            </a:prstGeom>
            <a:solidFill>
              <a:srgbClr val="EAEADE"/>
            </a:solidFill>
            <a:ln w="12700" cap="flat" cmpd="sng" algn="ctr">
              <a:solidFill>
                <a:srgbClr val="014B14"/>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9" name="Rectángulo 8">
              <a:extLst>
                <a:ext uri="{FF2B5EF4-FFF2-40B4-BE49-F238E27FC236}">
                  <a16:creationId xmlns="" xmlns:a16="http://schemas.microsoft.com/office/drawing/2014/main" id="{8021435A-B7BD-76EB-4A06-529B00B89206}"/>
                </a:ext>
              </a:extLst>
            </p:cNvPr>
            <p:cNvSpPr/>
            <p:nvPr/>
          </p:nvSpPr>
          <p:spPr>
            <a:xfrm>
              <a:off x="6714232" y="3417120"/>
              <a:ext cx="2324264" cy="769875"/>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Programa preventivo</a:t>
              </a:r>
            </a:p>
          </p:txBody>
        </p:sp>
      </p:grpSp>
      <p:grpSp>
        <p:nvGrpSpPr>
          <p:cNvPr id="10" name="Grupo 9">
            <a:extLst>
              <a:ext uri="{FF2B5EF4-FFF2-40B4-BE49-F238E27FC236}">
                <a16:creationId xmlns="" xmlns:a16="http://schemas.microsoft.com/office/drawing/2014/main" id="{95156128-31A3-F910-68E1-5A3EBD764334}"/>
              </a:ext>
            </a:extLst>
          </p:cNvPr>
          <p:cNvGrpSpPr/>
          <p:nvPr/>
        </p:nvGrpSpPr>
        <p:grpSpPr>
          <a:xfrm>
            <a:off x="5991770" y="5076480"/>
            <a:ext cx="1937148" cy="538397"/>
            <a:chOff x="6387848" y="3417120"/>
            <a:chExt cx="2952000" cy="792206"/>
          </a:xfrm>
        </p:grpSpPr>
        <p:sp>
          <p:nvSpPr>
            <p:cNvPr id="11" name="Rectángulo redondeado 17">
              <a:extLst>
                <a:ext uri="{FF2B5EF4-FFF2-40B4-BE49-F238E27FC236}">
                  <a16:creationId xmlns="" xmlns:a16="http://schemas.microsoft.com/office/drawing/2014/main" id="{1E905858-BD7F-48DC-D96E-5D65B78AAB21}"/>
                </a:ext>
              </a:extLst>
            </p:cNvPr>
            <p:cNvSpPr/>
            <p:nvPr/>
          </p:nvSpPr>
          <p:spPr>
            <a:xfrm>
              <a:off x="6387848" y="3429000"/>
              <a:ext cx="2952000" cy="780326"/>
            </a:xfrm>
            <a:prstGeom prst="roundRect">
              <a:avLst/>
            </a:prstGeom>
            <a:solidFill>
              <a:srgbClr val="EAEADE"/>
            </a:solidFill>
            <a:ln w="12700" cap="flat" cmpd="sng" algn="ctr">
              <a:solidFill>
                <a:srgbClr val="014B14"/>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12" name="Rectángulo 11">
              <a:extLst>
                <a:ext uri="{FF2B5EF4-FFF2-40B4-BE49-F238E27FC236}">
                  <a16:creationId xmlns="" xmlns:a16="http://schemas.microsoft.com/office/drawing/2014/main" id="{E39D0DD8-5F06-D4EF-80F0-D6DB745C3472}"/>
                </a:ext>
              </a:extLst>
            </p:cNvPr>
            <p:cNvSpPr/>
            <p:nvPr/>
          </p:nvSpPr>
          <p:spPr>
            <a:xfrm>
              <a:off x="6714232" y="3417120"/>
              <a:ext cx="2324264" cy="769875"/>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400" b="0" i="0" u="none" strike="noStrike" kern="0" cap="none" spc="0" normalizeH="0" baseline="0" noProof="0" dirty="0">
                  <a:ln>
                    <a:noFill/>
                  </a:ln>
                  <a:solidFill>
                    <a:srgbClr val="13C045"/>
                  </a:solidFill>
                  <a:effectLst/>
                  <a:uLnTx/>
                  <a:uFillTx/>
                  <a:latin typeface="ACHS Nueva Sans" pitchFamily="2" charset="0"/>
                </a:rPr>
                <a:t>Planes de respuesta</a:t>
              </a:r>
            </a:p>
          </p:txBody>
        </p:sp>
      </p:grpSp>
      <p:grpSp>
        <p:nvGrpSpPr>
          <p:cNvPr id="13" name="Grupo 12">
            <a:extLst>
              <a:ext uri="{FF2B5EF4-FFF2-40B4-BE49-F238E27FC236}">
                <a16:creationId xmlns="" xmlns:a16="http://schemas.microsoft.com/office/drawing/2014/main" id="{A8A467A9-D8E2-F7F6-BF8D-6FAB8D470FD1}"/>
              </a:ext>
            </a:extLst>
          </p:cNvPr>
          <p:cNvGrpSpPr/>
          <p:nvPr/>
        </p:nvGrpSpPr>
        <p:grpSpPr>
          <a:xfrm>
            <a:off x="6918541" y="5882435"/>
            <a:ext cx="1986565" cy="646331"/>
            <a:chOff x="5220392" y="3326544"/>
            <a:chExt cx="3027305" cy="951022"/>
          </a:xfrm>
        </p:grpSpPr>
        <p:sp>
          <p:nvSpPr>
            <p:cNvPr id="14" name="Rectángulo redondeado 20">
              <a:extLst>
                <a:ext uri="{FF2B5EF4-FFF2-40B4-BE49-F238E27FC236}">
                  <a16:creationId xmlns="" xmlns:a16="http://schemas.microsoft.com/office/drawing/2014/main" id="{C1C5C83C-962E-3C6E-B344-A5D54BE6AB57}"/>
                </a:ext>
              </a:extLst>
            </p:cNvPr>
            <p:cNvSpPr/>
            <p:nvPr/>
          </p:nvSpPr>
          <p:spPr>
            <a:xfrm>
              <a:off x="5229782" y="3429000"/>
              <a:ext cx="2951999" cy="780326"/>
            </a:xfrm>
            <a:prstGeom prst="roundRect">
              <a:avLst/>
            </a:prstGeom>
            <a:solidFill>
              <a:srgbClr val="EAEADE"/>
            </a:solidFill>
            <a:ln w="12700" cap="flat" cmpd="sng" algn="ctr">
              <a:solidFill>
                <a:srgbClr val="014B14"/>
              </a:solidFill>
              <a:prstDash val="solid"/>
              <a:miter lim="800000"/>
            </a:ln>
            <a:effectLst/>
          </p:spPr>
          <p:txBody>
            <a:bodyPr lIns="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srgbClr val="13C045"/>
                </a:solidFill>
                <a:effectLst/>
                <a:uLnTx/>
                <a:uFillTx/>
                <a:latin typeface="ACHS Nueva Sans" pitchFamily="2" charset="0"/>
              </a:endParaRPr>
            </a:p>
          </p:txBody>
        </p:sp>
        <p:sp>
          <p:nvSpPr>
            <p:cNvPr id="15" name="Rectángulo 14">
              <a:extLst>
                <a:ext uri="{FF2B5EF4-FFF2-40B4-BE49-F238E27FC236}">
                  <a16:creationId xmlns="" xmlns:a16="http://schemas.microsoft.com/office/drawing/2014/main" id="{AA56C0DB-8DAF-75B8-EB2C-DB02E5296C2D}"/>
                </a:ext>
              </a:extLst>
            </p:cNvPr>
            <p:cNvSpPr/>
            <p:nvPr/>
          </p:nvSpPr>
          <p:spPr>
            <a:xfrm>
              <a:off x="5220392" y="3326544"/>
              <a:ext cx="3027305" cy="951022"/>
            </a:xfrm>
            <a:prstGeom prst="rect">
              <a:avLst/>
            </a:prstGeom>
          </p:spPr>
          <p:txBody>
            <a:bodyPr wrap="square"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200" b="0" i="0" u="none" strike="noStrike" kern="0" cap="none" spc="0" normalizeH="0" baseline="0" noProof="0" dirty="0">
                  <a:ln>
                    <a:noFill/>
                  </a:ln>
                  <a:solidFill>
                    <a:srgbClr val="13C045"/>
                  </a:solidFill>
                  <a:effectLst/>
                  <a:uLnTx/>
                  <a:uFillTx/>
                  <a:latin typeface="ACHS Nueva Sans" pitchFamily="2" charset="0"/>
                </a:rPr>
                <a:t>Información, capacitación y verificación</a:t>
              </a:r>
            </a:p>
          </p:txBody>
        </p:sp>
      </p:grpSp>
      <p:cxnSp>
        <p:nvCxnSpPr>
          <p:cNvPr id="16" name="Conector angular 6">
            <a:extLst>
              <a:ext uri="{FF2B5EF4-FFF2-40B4-BE49-F238E27FC236}">
                <a16:creationId xmlns="" xmlns:a16="http://schemas.microsoft.com/office/drawing/2014/main" id="{29C2211A-E0FA-A69A-A090-A35F2D75E0C1}"/>
              </a:ext>
            </a:extLst>
          </p:cNvPr>
          <p:cNvCxnSpPr>
            <a:stCxn id="4" idx="2"/>
            <a:endCxn id="8" idx="0"/>
          </p:cNvCxnSpPr>
          <p:nvPr/>
        </p:nvCxnSpPr>
        <p:spPr>
          <a:xfrm rot="16200000" flipH="1">
            <a:off x="5434020" y="3572916"/>
            <a:ext cx="295524" cy="908713"/>
          </a:xfrm>
          <a:prstGeom prst="bentConnector3">
            <a:avLst/>
          </a:prstGeom>
          <a:noFill/>
          <a:ln w="6350" cap="flat" cmpd="sng" algn="ctr">
            <a:solidFill>
              <a:srgbClr val="0FC044"/>
            </a:solidFill>
            <a:prstDash val="solid"/>
            <a:miter lim="800000"/>
            <a:tailEnd type="triangle"/>
          </a:ln>
          <a:effectLst/>
        </p:spPr>
      </p:cxnSp>
      <p:cxnSp>
        <p:nvCxnSpPr>
          <p:cNvPr id="40" name="Conector angular 23">
            <a:extLst>
              <a:ext uri="{FF2B5EF4-FFF2-40B4-BE49-F238E27FC236}">
                <a16:creationId xmlns="" xmlns:a16="http://schemas.microsoft.com/office/drawing/2014/main" id="{146BFF24-4564-9237-060C-423566445DB5}"/>
              </a:ext>
            </a:extLst>
          </p:cNvPr>
          <p:cNvCxnSpPr>
            <a:stCxn id="8" idx="2"/>
            <a:endCxn id="11" idx="0"/>
          </p:cNvCxnSpPr>
          <p:nvPr/>
        </p:nvCxnSpPr>
        <p:spPr>
          <a:xfrm rot="16200000" flipH="1">
            <a:off x="6308643" y="4432853"/>
            <a:ext cx="379196" cy="924205"/>
          </a:xfrm>
          <a:prstGeom prst="bentConnector3">
            <a:avLst>
              <a:gd name="adj1" fmla="val 50000"/>
            </a:avLst>
          </a:prstGeom>
          <a:noFill/>
          <a:ln w="6350" cap="flat" cmpd="sng" algn="ctr">
            <a:solidFill>
              <a:srgbClr val="0FC044"/>
            </a:solidFill>
            <a:prstDash val="solid"/>
            <a:miter lim="800000"/>
            <a:tailEnd type="triangle"/>
          </a:ln>
          <a:effectLst/>
        </p:spPr>
      </p:cxnSp>
      <p:cxnSp>
        <p:nvCxnSpPr>
          <p:cNvPr id="41" name="Conector angular 26">
            <a:extLst>
              <a:ext uri="{FF2B5EF4-FFF2-40B4-BE49-F238E27FC236}">
                <a16:creationId xmlns="" xmlns:a16="http://schemas.microsoft.com/office/drawing/2014/main" id="{40931286-5C45-A825-0976-663F2FCE2669}"/>
              </a:ext>
            </a:extLst>
          </p:cNvPr>
          <p:cNvCxnSpPr>
            <a:stCxn id="11" idx="2"/>
            <a:endCxn id="14" idx="0"/>
          </p:cNvCxnSpPr>
          <p:nvPr/>
        </p:nvCxnSpPr>
        <p:spPr>
          <a:xfrm rot="16200000" flipH="1">
            <a:off x="7258219" y="5317001"/>
            <a:ext cx="337189" cy="932939"/>
          </a:xfrm>
          <a:prstGeom prst="bentConnector3">
            <a:avLst>
              <a:gd name="adj1" fmla="val 50000"/>
            </a:avLst>
          </a:prstGeom>
          <a:noFill/>
          <a:ln w="6350" cap="flat" cmpd="sng" algn="ctr">
            <a:solidFill>
              <a:srgbClr val="0FC044"/>
            </a:solidFill>
            <a:prstDash val="solid"/>
            <a:miter lim="800000"/>
            <a:tailEnd type="triangle"/>
          </a:ln>
          <a:effectLst/>
        </p:spPr>
      </p:cxnSp>
      <p:pic>
        <p:nvPicPr>
          <p:cNvPr id="42" name="Imagen 41">
            <a:extLst>
              <a:ext uri="{FF2B5EF4-FFF2-40B4-BE49-F238E27FC236}">
                <a16:creationId xmlns="" xmlns:a16="http://schemas.microsoft.com/office/drawing/2014/main" id="{56A53E1C-73BF-DD3E-E2C5-C5D08DAFD321}"/>
              </a:ext>
            </a:extLst>
          </p:cNvPr>
          <p:cNvPicPr>
            <a:picLocks noChangeAspect="1"/>
          </p:cNvPicPr>
          <p:nvPr/>
        </p:nvPicPr>
        <p:blipFill>
          <a:blip r:embed="rId9"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8642904" y="6263057"/>
            <a:ext cx="437893" cy="438664"/>
          </a:xfrm>
          <a:prstGeom prst="rect">
            <a:avLst/>
          </a:prstGeom>
        </p:spPr>
      </p:pic>
    </p:spTree>
    <p:custDataLst>
      <p:tags r:id="rId2"/>
    </p:custDataLst>
    <p:extLst>
      <p:ext uri="{BB962C8B-B14F-4D97-AF65-F5344CB8AC3E}">
        <p14:creationId xmlns:p14="http://schemas.microsoft.com/office/powerpoint/2010/main" val="78918103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272207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 name="Imagen 1">
            <a:extLst>
              <a:ext uri="{FF2B5EF4-FFF2-40B4-BE49-F238E27FC236}">
                <a16:creationId xmlns="" xmlns:a16="http://schemas.microsoft.com/office/drawing/2014/main" id="{D2D5A5D7-BEFF-66AD-E9CE-8E8F3F80A09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144539" y="5368"/>
            <a:ext cx="4040373" cy="6858000"/>
          </a:xfrm>
          <a:prstGeom prst="rect">
            <a:avLst/>
          </a:prstGeom>
        </p:spPr>
      </p:pic>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1477328"/>
          </a:xfrm>
          <a:prstGeom prst="rect">
            <a:avLst/>
          </a:prstGeom>
          <a:noFill/>
        </p:spPr>
        <p:txBody>
          <a:bodyPr wrap="square" lIns="91440" tIns="45720" rIns="91440" bIns="45720" rtlCol="0" anchor="t">
            <a:spAutoFit/>
          </a:bodyPr>
          <a:lstStyle/>
          <a:p>
            <a:pPr algn="just">
              <a:spcBef>
                <a:spcPct val="0"/>
              </a:spcBef>
              <a:buClr>
                <a:srgbClr val="15BF45"/>
              </a:buClr>
            </a:pPr>
            <a:r>
              <a:rPr lang="es-CL" altLang="es-CL" b="1" dirty="0">
                <a:solidFill>
                  <a:srgbClr val="0FC044"/>
                </a:solidFill>
                <a:latin typeface="ACHS Nueva Sans Medium" pitchFamily="2" charset="0"/>
                <a:cs typeface="Arial" panose="020B0604020202020204" pitchFamily="34" charset="0"/>
              </a:rPr>
              <a:t>Publicación y entrada en vigencia</a:t>
            </a:r>
          </a:p>
          <a:p>
            <a:pPr algn="just">
              <a:spcBef>
                <a:spcPct val="0"/>
              </a:spcBef>
              <a:buClr>
                <a:srgbClr val="15BF45"/>
              </a:buClr>
            </a:pPr>
            <a:endParaRPr lang="es-ES" altLang="es-CL" b="1" dirty="0">
              <a:solidFill>
                <a:srgbClr val="0FC044"/>
              </a:solidFill>
              <a:latin typeface="ACHS Nueva Sans Medium" pitchFamily="2" charset="0"/>
              <a:cs typeface="Arial" panose="020B0604020202020204" pitchFamily="34" charset="0"/>
            </a:endParaRPr>
          </a:p>
          <a:p>
            <a:pPr algn="just">
              <a:spcBef>
                <a:spcPct val="0"/>
              </a:spcBef>
              <a:buClr>
                <a:srgbClr val="15BF45"/>
              </a:buClr>
            </a:pPr>
            <a:r>
              <a:rPr lang="es-CL" altLang="es-CL" dirty="0">
                <a:solidFill>
                  <a:srgbClr val="014B14"/>
                </a:solidFill>
                <a:latin typeface="ACHS Nueva Sans Medium" pitchFamily="2" charset="0"/>
                <a:cs typeface="Arial" panose="020B0604020202020204" pitchFamily="34" charset="0"/>
              </a:rPr>
              <a:t>Decreto N° 44/2023 del Ministerio del Trabajo y Previsión Social.</a:t>
            </a:r>
          </a:p>
          <a:p>
            <a:pPr algn="just">
              <a:spcBef>
                <a:spcPct val="0"/>
              </a:spcBef>
              <a:buClr>
                <a:srgbClr val="15BF45"/>
              </a:buClr>
            </a:pPr>
            <a:endParaRPr lang="es-CL" altLang="es-CL"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CL" altLang="es-CL" dirty="0">
                <a:solidFill>
                  <a:srgbClr val="014B14"/>
                </a:solidFill>
                <a:latin typeface="ACHS Nueva Sans Medium" pitchFamily="2" charset="0"/>
                <a:cs typeface="Arial" panose="020B0604020202020204" pitchFamily="34" charset="0"/>
              </a:rPr>
              <a:t>Publicado en el Diario oficial el día 27 de julio del 2024</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ntrada en vigenci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grpSp>
        <p:nvGrpSpPr>
          <p:cNvPr id="5" name="Grupo 4">
            <a:extLst>
              <a:ext uri="{FF2B5EF4-FFF2-40B4-BE49-F238E27FC236}">
                <a16:creationId xmlns="" xmlns:a16="http://schemas.microsoft.com/office/drawing/2014/main" id="{85A47503-B0C2-2141-90E5-435E08B7750F}"/>
              </a:ext>
            </a:extLst>
          </p:cNvPr>
          <p:cNvGrpSpPr/>
          <p:nvPr/>
        </p:nvGrpSpPr>
        <p:grpSpPr>
          <a:xfrm>
            <a:off x="1537589" y="4050270"/>
            <a:ext cx="5301048" cy="530323"/>
            <a:chOff x="6387848" y="3429000"/>
            <a:chExt cx="2952000" cy="780326"/>
          </a:xfrm>
        </p:grpSpPr>
        <p:sp>
          <p:nvSpPr>
            <p:cNvPr id="7" name="Rectángulo redondeado 8">
              <a:extLst>
                <a:ext uri="{FF2B5EF4-FFF2-40B4-BE49-F238E27FC236}">
                  <a16:creationId xmlns="" xmlns:a16="http://schemas.microsoft.com/office/drawing/2014/main" id="{558621E6-2141-5174-D8A5-3FCB4894F42A}"/>
                </a:ext>
              </a:extLst>
            </p:cNvPr>
            <p:cNvSpPr/>
            <p:nvPr/>
          </p:nvSpPr>
          <p:spPr>
            <a:xfrm>
              <a:off x="6387848" y="3429000"/>
              <a:ext cx="2952000" cy="780326"/>
            </a:xfrm>
            <a:prstGeom prst="round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endParaRPr lang="es-CL" sz="1400" dirty="0">
                <a:solidFill>
                  <a:srgbClr val="13C045"/>
                </a:solidFill>
              </a:endParaRPr>
            </a:p>
          </p:txBody>
        </p:sp>
        <p:sp>
          <p:nvSpPr>
            <p:cNvPr id="8" name="Rectángulo 7">
              <a:extLst>
                <a:ext uri="{FF2B5EF4-FFF2-40B4-BE49-F238E27FC236}">
                  <a16:creationId xmlns="" xmlns:a16="http://schemas.microsoft.com/office/drawing/2014/main" id="{83C61868-98DF-BA88-990E-05650766C133}"/>
                </a:ext>
              </a:extLst>
            </p:cNvPr>
            <p:cNvSpPr/>
            <p:nvPr/>
          </p:nvSpPr>
          <p:spPr>
            <a:xfrm>
              <a:off x="6714231" y="3552980"/>
              <a:ext cx="2537655" cy="498154"/>
            </a:xfrm>
            <a:prstGeom prst="rect">
              <a:avLst/>
            </a:prstGeom>
          </p:spPr>
          <p:txBody>
            <a:bodyPr wrap="square" anchor="ctr" anchorCtr="0">
              <a:spAutoFit/>
            </a:bodyPr>
            <a:lstStyle/>
            <a:p>
              <a:pPr algn="ctr"/>
              <a:r>
                <a:rPr lang="es-MX" sz="1600" b="1" dirty="0">
                  <a:solidFill>
                    <a:schemeClr val="bg1"/>
                  </a:solidFill>
                </a:rPr>
                <a:t>ENTRA EN VIGENCIA EL 1 FEBRERO 2025</a:t>
              </a:r>
            </a:p>
          </p:txBody>
        </p:sp>
      </p:grpSp>
    </p:spTree>
    <p:custDataLst>
      <p:tags r:id="rId2"/>
    </p:custDataLst>
    <p:extLst>
      <p:ext uri="{BB962C8B-B14F-4D97-AF65-F5344CB8AC3E}">
        <p14:creationId xmlns:p14="http://schemas.microsoft.com/office/powerpoint/2010/main" val="377962167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9843472" cy="646331"/>
          </a:xfrm>
          <a:prstGeom prst="rect">
            <a:avLst/>
          </a:prstGeom>
          <a:noFill/>
        </p:spPr>
        <p:txBody>
          <a:bodyPr wrap="square" lIns="91440" tIns="45720" rIns="91440" bIns="45720" rtlCol="0" anchor="t">
            <a:spAutoFit/>
          </a:bodyPr>
          <a:lstStyle/>
          <a:p>
            <a:pPr algn="just">
              <a:spcBef>
                <a:spcPct val="0"/>
              </a:spcBef>
              <a:buClr>
                <a:srgbClr val="15BF45"/>
              </a:buClr>
            </a:pPr>
            <a:r>
              <a:rPr lang="es-CL" altLang="es-CL" b="1" dirty="0">
                <a:solidFill>
                  <a:srgbClr val="0FC044"/>
                </a:solidFill>
                <a:latin typeface="ACHS Nueva Sans Medium" pitchFamily="2" charset="0"/>
                <a:cs typeface="Arial" panose="020B0604020202020204" pitchFamily="34" charset="0"/>
              </a:rPr>
              <a:t>Definiciones técnicas e instrucciones pendientes por parte de la SUSESO y del Ministerio del trabajo</a:t>
            </a:r>
            <a:endParaRPr lang="es-ES" altLang="es-CL" b="1" dirty="0">
              <a:solidFill>
                <a:srgbClr val="0FC044"/>
              </a:solidFill>
              <a:latin typeface="ACHS Nueva Sans Medium" pitchFamily="2" charset="0"/>
              <a:cs typeface="Arial" panose="020B0604020202020204" pitchFamily="34"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ntrada en vigenci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pic>
        <p:nvPicPr>
          <p:cNvPr id="9" name="Imagen 8">
            <a:extLst>
              <a:ext uri="{FF2B5EF4-FFF2-40B4-BE49-F238E27FC236}">
                <a16:creationId xmlns="" xmlns:a16="http://schemas.microsoft.com/office/drawing/2014/main" id="{18E2EC8B-360B-1FBC-B43F-FA56DC945E4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79588" y="2157676"/>
            <a:ext cx="1252484" cy="1246917"/>
          </a:xfrm>
          <a:prstGeom prst="rect">
            <a:avLst/>
          </a:prstGeom>
        </p:spPr>
      </p:pic>
      <p:pic>
        <p:nvPicPr>
          <p:cNvPr id="10" name="Picture 4" descr="Ministerio del Trabajo y Previsión Social | Santiago">
            <a:extLst>
              <a:ext uri="{FF2B5EF4-FFF2-40B4-BE49-F238E27FC236}">
                <a16:creationId xmlns="" xmlns:a16="http://schemas.microsoft.com/office/drawing/2014/main" id="{1F36678C-7BD8-BF67-76F2-386BCD83692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977285" y="2116321"/>
            <a:ext cx="1246917" cy="124691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a 15">
            <a:extLst>
              <a:ext uri="{FF2B5EF4-FFF2-40B4-BE49-F238E27FC236}">
                <a16:creationId xmlns="" xmlns:a16="http://schemas.microsoft.com/office/drawing/2014/main" id="{3A5F9DD5-8E83-F9E6-BEB6-FB133EEE49DD}"/>
              </a:ext>
            </a:extLst>
          </p:cNvPr>
          <p:cNvGraphicFramePr>
            <a:graphicFrameLocks noGrp="1"/>
          </p:cNvGraphicFramePr>
          <p:nvPr>
            <p:extLst>
              <p:ext uri="{D42A27DB-BD31-4B8C-83A1-F6EECF244321}">
                <p14:modId xmlns:p14="http://schemas.microsoft.com/office/powerpoint/2010/main" val="2125855955"/>
              </p:ext>
            </p:extLst>
          </p:nvPr>
        </p:nvGraphicFramePr>
        <p:xfrm>
          <a:off x="855311" y="3585248"/>
          <a:ext cx="5009489" cy="2936240"/>
        </p:xfrm>
        <a:graphic>
          <a:graphicData uri="http://schemas.openxmlformats.org/drawingml/2006/table">
            <a:tbl>
              <a:tblPr firstRow="1" bandRow="1">
                <a:tableStyleId>{5C22544A-7EE6-4342-B048-85BDC9FD1C3A}</a:tableStyleId>
              </a:tblPr>
              <a:tblGrid>
                <a:gridCol w="5009489">
                  <a:extLst>
                    <a:ext uri="{9D8B030D-6E8A-4147-A177-3AD203B41FA5}">
                      <a16:colId xmlns="" xmlns:a16="http://schemas.microsoft.com/office/drawing/2014/main" val="278748018"/>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400" dirty="0">
                          <a:latin typeface="ACHS Nueva Sans" pitchFamily="2" charset="0"/>
                        </a:rPr>
                        <a:t>GUÍAS</a:t>
                      </a:r>
                      <a:r>
                        <a:rPr lang="es-MX" sz="1400" baseline="0" dirty="0">
                          <a:latin typeface="ACHS Nueva Sans" pitchFamily="2" charset="0"/>
                        </a:rPr>
                        <a:t> E INSTRUCCIONES SUSESO</a:t>
                      </a:r>
                      <a:endParaRPr lang="es-CL" sz="1400" dirty="0">
                        <a:latin typeface="ACHS Nueva Sans" pitchFamily="2" charset="0"/>
                      </a:endParaRPr>
                    </a:p>
                  </a:txBody>
                  <a:tcPr>
                    <a:solidFill>
                      <a:srgbClr val="014B14"/>
                    </a:solidFill>
                  </a:tcPr>
                </a:tc>
                <a:extLst>
                  <a:ext uri="{0D108BD9-81ED-4DB2-BD59-A6C34878D82A}">
                    <a16:rowId xmlns="" xmlns:a16="http://schemas.microsoft.com/office/drawing/2014/main" val="2633048726"/>
                  </a:ext>
                </a:extLst>
              </a:tr>
              <a:tr h="370840">
                <a:tc>
                  <a:txBody>
                    <a:bodyPr/>
                    <a:lstStyle/>
                    <a:p>
                      <a:pPr algn="just"/>
                      <a:r>
                        <a:rPr lang="es-MX" sz="1200" dirty="0">
                          <a:solidFill>
                            <a:srgbClr val="014B14"/>
                          </a:solidFill>
                          <a:latin typeface="ACHS Nueva Sans" pitchFamily="2" charset="0"/>
                        </a:rPr>
                        <a:t>Instrucciones por parte de la Superintendencia de Seguridad Social sobre la oportunidad en que pueden ser impartidos estos cursos, el contenido y la metodología con que deben dictarse.</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3363117965"/>
                  </a:ext>
                </a:extLst>
              </a:tr>
              <a:tr h="370840">
                <a:tc>
                  <a:txBody>
                    <a:bodyPr/>
                    <a:lstStyle/>
                    <a:p>
                      <a:pPr algn="just"/>
                      <a:r>
                        <a:rPr lang="es-MX" sz="1200" dirty="0">
                          <a:solidFill>
                            <a:srgbClr val="014B14"/>
                          </a:solidFill>
                          <a:latin typeface="ACHS Nueva Sans" pitchFamily="2" charset="0"/>
                        </a:rPr>
                        <a:t>Capacitación de los encargados de la prevención de riesgos laborales en las empresas de hasta cien personas trabajadoras.</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2994871659"/>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MX" sz="1200" dirty="0">
                          <a:solidFill>
                            <a:srgbClr val="014B14"/>
                          </a:solidFill>
                          <a:latin typeface="ACHS Nueva Sans" pitchFamily="2" charset="0"/>
                        </a:rPr>
                        <a:t>Instrucciones para la a</a:t>
                      </a:r>
                      <a:r>
                        <a:rPr lang="es-MX" sz="1200" b="0" kern="1200" dirty="0">
                          <a:solidFill>
                            <a:srgbClr val="014B14"/>
                          </a:solidFill>
                          <a:latin typeface="ACHS Nueva Sans" pitchFamily="2" charset="0"/>
                          <a:ea typeface="+mn-ea"/>
                          <a:cs typeface="+mn-cs"/>
                        </a:rPr>
                        <a:t>sistencia técnica para la capacitación de las personas trabajadoras en prevención de riesgos laborales.</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1346759561"/>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MX" sz="1200" b="0" kern="1200" dirty="0">
                          <a:solidFill>
                            <a:srgbClr val="014B14"/>
                          </a:solidFill>
                          <a:latin typeface="ACHS Nueva Sans" pitchFamily="2" charset="0"/>
                          <a:ea typeface="+mn-ea"/>
                          <a:cs typeface="+mn-cs"/>
                        </a:rPr>
                        <a:t>Instrucciones para poner a disposición de la entidad empleadora un sistema de información para el registro documental de la actividad preventiva</a:t>
                      </a:r>
                      <a:r>
                        <a:rPr lang="es-CL" sz="1200" b="0" kern="1200" dirty="0">
                          <a:solidFill>
                            <a:srgbClr val="014B14"/>
                          </a:solidFill>
                          <a:latin typeface="ACHS Nueva Sans" pitchFamily="2" charset="0"/>
                          <a:ea typeface="+mn-ea"/>
                          <a:cs typeface="+mn-cs"/>
                        </a:rPr>
                        <a:t>.</a:t>
                      </a:r>
                      <a:endParaRPr lang="es-MX" sz="1200" b="0" kern="1200" dirty="0">
                        <a:solidFill>
                          <a:srgbClr val="014B14"/>
                        </a:solidFill>
                        <a:latin typeface="ACHS Nueva Sans" pitchFamily="2" charset="0"/>
                        <a:ea typeface="+mn-ea"/>
                        <a:cs typeface="+mn-cs"/>
                      </a:endParaRPr>
                    </a:p>
                  </a:txBody>
                  <a:tcPr>
                    <a:solidFill>
                      <a:srgbClr val="EBE9DE"/>
                    </a:solidFill>
                  </a:tcPr>
                </a:tc>
                <a:extLst>
                  <a:ext uri="{0D108BD9-81ED-4DB2-BD59-A6C34878D82A}">
                    <a16:rowId xmlns="" xmlns:a16="http://schemas.microsoft.com/office/drawing/2014/main" val="221140754"/>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MX" sz="1200" dirty="0">
                          <a:solidFill>
                            <a:srgbClr val="014B14"/>
                          </a:solidFill>
                          <a:latin typeface="ACHS Nueva Sans" pitchFamily="2" charset="0"/>
                        </a:rPr>
                        <a:t>Otros.</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502750843"/>
                  </a:ext>
                </a:extLst>
              </a:tr>
            </a:tbl>
          </a:graphicData>
        </a:graphic>
      </p:graphicFrame>
      <p:graphicFrame>
        <p:nvGraphicFramePr>
          <p:cNvPr id="18" name="Tabla 17">
            <a:extLst>
              <a:ext uri="{FF2B5EF4-FFF2-40B4-BE49-F238E27FC236}">
                <a16:creationId xmlns="" xmlns:a16="http://schemas.microsoft.com/office/drawing/2014/main" id="{5ADCAE57-B2B6-F519-13D9-A7C97BB748E6}"/>
              </a:ext>
            </a:extLst>
          </p:cNvPr>
          <p:cNvGraphicFramePr>
            <a:graphicFrameLocks noGrp="1"/>
          </p:cNvGraphicFramePr>
          <p:nvPr>
            <p:extLst>
              <p:ext uri="{D42A27DB-BD31-4B8C-83A1-F6EECF244321}">
                <p14:modId xmlns:p14="http://schemas.microsoft.com/office/powerpoint/2010/main" val="2959751878"/>
              </p:ext>
            </p:extLst>
          </p:nvPr>
        </p:nvGraphicFramePr>
        <p:xfrm>
          <a:off x="6096000" y="3582080"/>
          <a:ext cx="5009489" cy="1285240"/>
        </p:xfrm>
        <a:graphic>
          <a:graphicData uri="http://schemas.openxmlformats.org/drawingml/2006/table">
            <a:tbl>
              <a:tblPr firstRow="1" bandRow="1">
                <a:tableStyleId>{5C22544A-7EE6-4342-B048-85BDC9FD1C3A}</a:tableStyleId>
              </a:tblPr>
              <a:tblGrid>
                <a:gridCol w="5009489">
                  <a:extLst>
                    <a:ext uri="{9D8B030D-6E8A-4147-A177-3AD203B41FA5}">
                      <a16:colId xmlns="" xmlns:a16="http://schemas.microsoft.com/office/drawing/2014/main" val="278748018"/>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400" dirty="0">
                          <a:latin typeface="ACHS Nueva Sans" pitchFamily="2" charset="0"/>
                        </a:rPr>
                        <a:t>GUÍAS</a:t>
                      </a:r>
                      <a:r>
                        <a:rPr lang="es-MX" sz="1400" baseline="0" dirty="0">
                          <a:latin typeface="ACHS Nueva Sans" pitchFamily="2" charset="0"/>
                        </a:rPr>
                        <a:t> E INSTRUCCIONES MINTRAB</a:t>
                      </a:r>
                      <a:endParaRPr lang="es-CL" sz="1400" dirty="0">
                        <a:latin typeface="ACHS Nueva Sans" pitchFamily="2" charset="0"/>
                      </a:endParaRPr>
                    </a:p>
                  </a:txBody>
                  <a:tcPr>
                    <a:solidFill>
                      <a:srgbClr val="014B14"/>
                    </a:solidFill>
                  </a:tcPr>
                </a:tc>
                <a:extLst>
                  <a:ext uri="{0D108BD9-81ED-4DB2-BD59-A6C34878D82A}">
                    <a16:rowId xmlns="" xmlns:a16="http://schemas.microsoft.com/office/drawing/2014/main" val="2633048726"/>
                  </a:ext>
                </a:extLst>
              </a:tr>
              <a:tr h="370840">
                <a:tc>
                  <a:txBody>
                    <a:bodyPr/>
                    <a:lstStyle/>
                    <a:p>
                      <a:pPr algn="just"/>
                      <a:r>
                        <a:rPr lang="es-MX" sz="1200" b="0" kern="1200" dirty="0">
                          <a:solidFill>
                            <a:srgbClr val="014B14"/>
                          </a:solidFill>
                          <a:latin typeface="ACHS Nueva Sans" pitchFamily="2" charset="0"/>
                          <a:ea typeface="+mn-ea"/>
                          <a:cs typeface="+mn-cs"/>
                        </a:rPr>
                        <a:t>Guía técnica para la capacitación de las personas trabajadoras en prevención de los riesgos laborales.</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3363117965"/>
                  </a:ext>
                </a:extLst>
              </a:tr>
              <a:tr h="370840">
                <a:tc>
                  <a:txBody>
                    <a:bodyPr/>
                    <a:lstStyle/>
                    <a:p>
                      <a:pPr algn="just"/>
                      <a:r>
                        <a:rPr lang="es-MX" sz="1200" dirty="0">
                          <a:solidFill>
                            <a:srgbClr val="014B14"/>
                          </a:solidFill>
                          <a:latin typeface="ACHS Nueva Sans" pitchFamily="2" charset="0"/>
                        </a:rPr>
                        <a:t>Guía con la </a:t>
                      </a:r>
                      <a:r>
                        <a:rPr lang="es-MX" sz="1200" b="0" kern="1200" dirty="0">
                          <a:solidFill>
                            <a:srgbClr val="014B14"/>
                          </a:solidFill>
                          <a:latin typeface="ACHS Nueva Sans" pitchFamily="2" charset="0"/>
                          <a:ea typeface="+mn-ea"/>
                          <a:cs typeface="+mn-cs"/>
                        </a:rPr>
                        <a:t>metodología para la elaboración de los mapas de riesgos.</a:t>
                      </a:r>
                      <a:endParaRPr lang="es-CL" sz="1200" dirty="0">
                        <a:solidFill>
                          <a:srgbClr val="014B14"/>
                        </a:solidFill>
                        <a:latin typeface="ACHS Nueva Sans" pitchFamily="2" charset="0"/>
                      </a:endParaRPr>
                    </a:p>
                  </a:txBody>
                  <a:tcPr>
                    <a:solidFill>
                      <a:srgbClr val="EBE9DE"/>
                    </a:solidFill>
                  </a:tcPr>
                </a:tc>
                <a:extLst>
                  <a:ext uri="{0D108BD9-81ED-4DB2-BD59-A6C34878D82A}">
                    <a16:rowId xmlns="" xmlns:a16="http://schemas.microsoft.com/office/drawing/2014/main" val="2994871659"/>
                  </a:ext>
                </a:extLst>
              </a:tr>
            </a:tbl>
          </a:graphicData>
        </a:graphic>
      </p:graphicFrame>
    </p:spTree>
    <p:custDataLst>
      <p:tags r:id="rId2"/>
    </p:custDataLst>
    <p:extLst>
      <p:ext uri="{BB962C8B-B14F-4D97-AF65-F5344CB8AC3E}">
        <p14:creationId xmlns:p14="http://schemas.microsoft.com/office/powerpoint/2010/main" val="1747244820"/>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913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Imagen 8">
            <a:extLst>
              <a:ext uri="{FF2B5EF4-FFF2-40B4-BE49-F238E27FC236}">
                <a16:creationId xmlns="" xmlns:a16="http://schemas.microsoft.com/office/drawing/2014/main" id="{CA6F4F9F-6E46-728E-C39D-B36102C1639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144539" y="5368"/>
            <a:ext cx="4047462" cy="6858000"/>
          </a:xfrm>
          <a:prstGeom prst="rect">
            <a:avLst/>
          </a:prstGeom>
        </p:spPr>
      </p:pic>
      <p:sp>
        <p:nvSpPr>
          <p:cNvPr id="36" name="CuadroTexto 35">
            <a:extLst>
              <a:ext uri="{FF2B5EF4-FFF2-40B4-BE49-F238E27FC236}">
                <a16:creationId xmlns="" xmlns:a16="http://schemas.microsoft.com/office/drawing/2014/main" id="{F9506A3C-ED6C-864E-946A-28D52CFBE7C1}"/>
              </a:ext>
            </a:extLst>
          </p:cNvPr>
          <p:cNvSpPr txBox="1"/>
          <p:nvPr/>
        </p:nvSpPr>
        <p:spPr>
          <a:xfrm>
            <a:off x="692296" y="1439976"/>
            <a:ext cx="7301634" cy="4093428"/>
          </a:xfrm>
          <a:prstGeom prst="rect">
            <a:avLst/>
          </a:prstGeom>
          <a:noFill/>
        </p:spPr>
        <p:txBody>
          <a:bodyPr wrap="square" lIns="91440" tIns="45720" rIns="91440" bIns="45720" rtlCol="0" anchor="t">
            <a:spAutoFit/>
          </a:bodyPr>
          <a:lstStyle/>
          <a:p>
            <a:pPr algn="just">
              <a:spcBef>
                <a:spcPct val="0"/>
              </a:spcBef>
              <a:buClr>
                <a:srgbClr val="15BF45"/>
              </a:buClr>
            </a:pPr>
            <a:r>
              <a:rPr lang="es-CL" altLang="es-CL" b="1" dirty="0">
                <a:solidFill>
                  <a:srgbClr val="0FC044"/>
                </a:solidFill>
                <a:latin typeface="ACHS Nueva Sans Medium" pitchFamily="2" charset="0"/>
                <a:cs typeface="Arial" panose="020B0604020202020204" pitchFamily="34" charset="0"/>
              </a:rPr>
              <a:t>Apoyo desde ACHS</a:t>
            </a:r>
          </a:p>
          <a:p>
            <a:pPr algn="just">
              <a:spcBef>
                <a:spcPct val="0"/>
              </a:spcBef>
              <a:buClr>
                <a:srgbClr val="15BF45"/>
              </a:buClr>
            </a:pPr>
            <a:endParaRPr lang="es-ES" altLang="es-CL" b="1" dirty="0">
              <a:solidFill>
                <a:srgbClr val="0FC044"/>
              </a:solidFill>
              <a:latin typeface="ACHS Nueva Sans Medium" pitchFamily="2" charset="0"/>
              <a:cs typeface="Arial" panose="020B0604020202020204" pitchFamily="34" charset="0"/>
            </a:endParaRPr>
          </a:p>
          <a:p>
            <a:pPr algn="just">
              <a:spcBef>
                <a:spcPct val="0"/>
              </a:spcBef>
              <a:buClr>
                <a:srgbClr val="15BF45"/>
              </a:buClr>
            </a:pPr>
            <a:r>
              <a:rPr lang="es-CL" altLang="es-CL" sz="1600" b="1" dirty="0">
                <a:solidFill>
                  <a:srgbClr val="014B14"/>
                </a:solidFill>
                <a:latin typeface="ACHS Nueva Sans Medium" pitchFamily="2" charset="0"/>
                <a:cs typeface="Arial" panose="020B0604020202020204" pitchFamily="34" charset="0"/>
              </a:rPr>
              <a:t>Etapa de difusión</a:t>
            </a:r>
          </a:p>
          <a:p>
            <a:pPr algn="just">
              <a:spcBef>
                <a:spcPct val="0"/>
              </a:spcBef>
              <a:buClr>
                <a:srgbClr val="15BF45"/>
              </a:buClr>
            </a:pPr>
            <a:endParaRPr lang="es-CL" altLang="es-CL" sz="1600" b="1"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sz="1600" dirty="0">
                <a:solidFill>
                  <a:srgbClr val="014B14"/>
                </a:solidFill>
                <a:latin typeface="ACHS Nueva Sans Medium" pitchFamily="2" charset="0"/>
                <a:cs typeface="Arial" panose="020B0604020202020204" pitchFamily="34" charset="0"/>
              </a:rPr>
              <a:t>Campaña de difusión del DTO 44</a:t>
            </a:r>
          </a:p>
          <a:p>
            <a:pPr marL="742950" lvl="1" indent="-285750" algn="just">
              <a:spcBef>
                <a:spcPct val="0"/>
              </a:spcBef>
              <a:buClr>
                <a:srgbClr val="15BF45"/>
              </a:buClr>
              <a:buFont typeface="Wingdings" panose="05000000000000000000" pitchFamily="2" charset="2"/>
              <a:buChar char="ü"/>
            </a:pPr>
            <a:r>
              <a:rPr lang="es-CL" altLang="es-CL" sz="1600" dirty="0" err="1">
                <a:solidFill>
                  <a:srgbClr val="014B14"/>
                </a:solidFill>
                <a:latin typeface="ACHS Nueva Sans Medium" pitchFamily="2" charset="0"/>
                <a:cs typeface="Arial" panose="020B0604020202020204" pitchFamily="34" charset="0"/>
              </a:rPr>
              <a:t>Webinar</a:t>
            </a:r>
            <a:endParaRPr lang="es-CL" altLang="es-CL" sz="1600" dirty="0">
              <a:solidFill>
                <a:srgbClr val="014B14"/>
              </a:solidFill>
              <a:latin typeface="ACHS Nueva Sans Medium" pitchFamily="2" charset="0"/>
              <a:cs typeface="Arial" panose="020B0604020202020204" pitchFamily="34" charset="0"/>
            </a:endParaRPr>
          </a:p>
          <a:p>
            <a:pPr marL="742950" lvl="1" indent="-285750" algn="just">
              <a:spcBef>
                <a:spcPct val="0"/>
              </a:spcBef>
              <a:buClr>
                <a:srgbClr val="15BF45"/>
              </a:buClr>
              <a:buFont typeface="Wingdings" panose="05000000000000000000" pitchFamily="2" charset="2"/>
              <a:buChar char="ü"/>
            </a:pPr>
            <a:r>
              <a:rPr lang="es-CL" altLang="es-CL" sz="1600" dirty="0">
                <a:solidFill>
                  <a:srgbClr val="014B14"/>
                </a:solidFill>
                <a:latin typeface="ACHS Nueva Sans Medium" pitchFamily="2" charset="0"/>
                <a:cs typeface="Arial" panose="020B0604020202020204" pitchFamily="34" charset="0"/>
              </a:rPr>
              <a:t>Página web</a:t>
            </a:r>
          </a:p>
          <a:p>
            <a:pPr marL="742950" lvl="1" indent="-285750" algn="just">
              <a:spcBef>
                <a:spcPct val="0"/>
              </a:spcBef>
              <a:buClr>
                <a:srgbClr val="15BF45"/>
              </a:buClr>
              <a:buFont typeface="Wingdings" panose="05000000000000000000" pitchFamily="2" charset="2"/>
              <a:buChar char="ü"/>
            </a:pPr>
            <a:r>
              <a:rPr lang="es-CL" altLang="es-CL" sz="1600" dirty="0" err="1">
                <a:solidFill>
                  <a:srgbClr val="014B14"/>
                </a:solidFill>
                <a:latin typeface="ACHS Nueva Sans Medium" pitchFamily="2" charset="0"/>
                <a:cs typeface="Arial" panose="020B0604020202020204" pitchFamily="34" charset="0"/>
              </a:rPr>
              <a:t>Mailing</a:t>
            </a:r>
            <a:endParaRPr lang="es-CL" altLang="es-CL" sz="1600"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sz="1600" dirty="0">
                <a:solidFill>
                  <a:srgbClr val="014B14"/>
                </a:solidFill>
                <a:latin typeface="ACHS Nueva Sans Medium" pitchFamily="2" charset="0"/>
                <a:cs typeface="Arial" panose="020B0604020202020204" pitchFamily="34" charset="0"/>
              </a:rPr>
              <a:t>Asistencia técnica (difusión)</a:t>
            </a:r>
          </a:p>
          <a:p>
            <a:pPr algn="just">
              <a:spcBef>
                <a:spcPct val="0"/>
              </a:spcBef>
              <a:buClr>
                <a:srgbClr val="15BF45"/>
              </a:buClr>
            </a:pPr>
            <a:endParaRPr lang="es-CL" altLang="es-CL" sz="1600" dirty="0">
              <a:solidFill>
                <a:srgbClr val="014B14"/>
              </a:solidFill>
              <a:latin typeface="ACHS Nueva Sans Medium" pitchFamily="2" charset="0"/>
              <a:cs typeface="Arial" panose="020B0604020202020204" pitchFamily="34" charset="0"/>
            </a:endParaRPr>
          </a:p>
          <a:p>
            <a:pPr algn="just">
              <a:spcBef>
                <a:spcPct val="0"/>
              </a:spcBef>
              <a:buClr>
                <a:srgbClr val="15BF45"/>
              </a:buClr>
            </a:pPr>
            <a:endParaRPr lang="es-CL" altLang="es-CL" sz="1600" dirty="0">
              <a:solidFill>
                <a:srgbClr val="014B14"/>
              </a:solidFill>
              <a:latin typeface="ACHS Nueva Sans Medium" pitchFamily="2" charset="0"/>
              <a:cs typeface="Arial" panose="020B0604020202020204" pitchFamily="34" charset="0"/>
            </a:endParaRPr>
          </a:p>
          <a:p>
            <a:pPr algn="just">
              <a:spcBef>
                <a:spcPct val="0"/>
              </a:spcBef>
              <a:buClr>
                <a:srgbClr val="15BF45"/>
              </a:buClr>
            </a:pPr>
            <a:r>
              <a:rPr lang="es-CL" altLang="es-CL" sz="1600" b="1" dirty="0">
                <a:solidFill>
                  <a:srgbClr val="014B14"/>
                </a:solidFill>
                <a:latin typeface="ACHS Nueva Sans Medium" pitchFamily="2" charset="0"/>
                <a:cs typeface="Arial" panose="020B0604020202020204" pitchFamily="34" charset="0"/>
              </a:rPr>
              <a:t>Etapa de implementación</a:t>
            </a:r>
          </a:p>
          <a:p>
            <a:pPr algn="just">
              <a:spcBef>
                <a:spcPct val="0"/>
              </a:spcBef>
              <a:buClr>
                <a:srgbClr val="15BF45"/>
              </a:buClr>
            </a:pPr>
            <a:endParaRPr lang="es-CL" altLang="es-CL" sz="1600"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CL" altLang="es-CL" sz="1600" dirty="0">
                <a:solidFill>
                  <a:srgbClr val="014B14"/>
                </a:solidFill>
                <a:latin typeface="ACHS Nueva Sans Medium" pitchFamily="2" charset="0"/>
                <a:cs typeface="Arial" panose="020B0604020202020204" pitchFamily="34" charset="0"/>
              </a:rPr>
              <a:t>Asistencia técnica (Implementación)</a:t>
            </a:r>
          </a:p>
          <a:p>
            <a:pPr marL="742950" lvl="1" indent="-285750" algn="just">
              <a:spcBef>
                <a:spcPct val="0"/>
              </a:spcBef>
              <a:buClr>
                <a:srgbClr val="15BF45"/>
              </a:buClr>
              <a:buFont typeface="Wingdings" panose="05000000000000000000" pitchFamily="2" charset="2"/>
              <a:buChar char="ü"/>
            </a:pPr>
            <a:r>
              <a:rPr lang="es-CL" altLang="es-CL" sz="1600" dirty="0">
                <a:solidFill>
                  <a:srgbClr val="014B14"/>
                </a:solidFill>
                <a:latin typeface="ACHS Nueva Sans Medium" pitchFamily="2" charset="0"/>
                <a:cs typeface="Arial" panose="020B0604020202020204" pitchFamily="34" charset="0"/>
              </a:rPr>
              <a:t>Asesorías específicas con fichas técnicas, herramientas digitales, análogas, registros, entre otros.</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ntrada en vigenci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408254778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 xmlns:a16="http://schemas.microsoft.com/office/drawing/2014/main"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 xmlns:a16="http://schemas.microsoft.com/office/drawing/2014/main"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 xmlns:a16="http://schemas.microsoft.com/office/drawing/2014/main"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 xmlns:a16="http://schemas.microsoft.com/office/drawing/2014/main"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 xmlns:a16="http://schemas.microsoft.com/office/drawing/2014/main" id="{421B21C9-A480-3A4D-B632-5E1DEC9CC6E2}"/>
              </a:ext>
            </a:extLst>
          </p:cNvPr>
          <p:cNvSpPr/>
          <p:nvPr/>
        </p:nvSpPr>
        <p:spPr>
          <a:xfrm>
            <a:off x="450000" y="496800"/>
            <a:ext cx="6219972"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abiert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 xmlns:a16="http://schemas.microsoft.com/office/drawing/2014/main"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 xmlns:a16="http://schemas.microsoft.com/office/drawing/2014/main"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 xmlns:a16="http://schemas.microsoft.com/office/drawing/2014/main"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 xmlns:a16="http://schemas.microsoft.com/office/drawing/2014/main"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 xmlns:a16="http://schemas.microsoft.com/office/drawing/2014/main" id="{5E5C4895-2CED-2047-8044-A293C57CAAAC}"/>
              </a:ext>
            </a:extLst>
          </p:cNvPr>
          <p:cNvSpPr txBox="1">
            <a:spLocks/>
          </p:cNvSpPr>
          <p:nvPr/>
        </p:nvSpPr>
        <p:spPr>
          <a:xfrm>
            <a:off x="5851683" y="3298099"/>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rxm3zy35</a:t>
            </a:r>
          </a:p>
        </p:txBody>
      </p:sp>
      <p:pic>
        <p:nvPicPr>
          <p:cNvPr id="18" name="Imagen 17">
            <a:extLst>
              <a:ext uri="{FF2B5EF4-FFF2-40B4-BE49-F238E27FC236}">
                <a16:creationId xmlns="" xmlns:a16="http://schemas.microsoft.com/office/drawing/2014/main" id="{C556FFD4-F074-0244-9BA7-0EF716399C5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073" t="15461" r="17816" b="32407"/>
          <a:stretch/>
        </p:blipFill>
        <p:spPr>
          <a:xfrm>
            <a:off x="1608167" y="2709137"/>
            <a:ext cx="1692424" cy="1701800"/>
          </a:xfrm>
          <a:prstGeom prst="rect">
            <a:avLst/>
          </a:prstGeom>
        </p:spPr>
      </p:pic>
    </p:spTree>
    <p:custDataLst>
      <p:tags r:id="rId1"/>
    </p:custDataLst>
    <p:extLst>
      <p:ext uri="{BB962C8B-B14F-4D97-AF65-F5344CB8AC3E}">
        <p14:creationId xmlns:p14="http://schemas.microsoft.com/office/powerpoint/2010/main" val="3858523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172294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9" name="Rectángulo 8">
            <a:extLst>
              <a:ext uri="{FF2B5EF4-FFF2-40B4-BE49-F238E27FC236}">
                <a16:creationId xmlns="" xmlns:a16="http://schemas.microsoft.com/office/drawing/2014/main" id="{29F8B809-1A94-6C9A-DF97-761D2D71E377}"/>
              </a:ext>
            </a:extLst>
          </p:cNvPr>
          <p:cNvSpPr/>
          <p:nvPr/>
        </p:nvSpPr>
        <p:spPr>
          <a:xfrm>
            <a:off x="718907" y="1759437"/>
            <a:ext cx="2913600" cy="736164"/>
          </a:xfrm>
          <a:prstGeom prst="rect">
            <a:avLst/>
          </a:prstGeom>
          <a:solidFill>
            <a:srgbClr val="13C045"/>
          </a:solidFill>
          <a:ln w="12700" cap="flat" cmpd="sng" algn="ctr">
            <a:solidFill>
              <a:srgbClr val="13C045"/>
            </a:solidFill>
            <a:prstDash val="solid"/>
            <a:miter lim="800000"/>
          </a:ln>
          <a:effectLst/>
        </p:spPr>
        <p:txBody>
          <a:bodyPr lIns="72000" tIns="3600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L" sz="1400" b="1" i="0" u="none" strike="noStrike" kern="0" cap="none" spc="0" normalizeH="0" baseline="0" noProof="0" dirty="0">
                <a:ln>
                  <a:noFill/>
                </a:ln>
                <a:solidFill>
                  <a:prstClr val="white"/>
                </a:solidFill>
                <a:effectLst/>
                <a:uLnTx/>
                <a:uFillTx/>
                <a:latin typeface="ACHS Nueva Sans" pitchFamily="2" charset="0"/>
              </a:rPr>
              <a:t>Normas marco sobre SST </a:t>
            </a:r>
            <a:r>
              <a:rPr kumimoji="0" lang="es-CL" sz="1400" b="0" i="0" u="none" strike="noStrike" kern="0" cap="none" spc="0" normalizeH="0" baseline="0" noProof="0" dirty="0">
                <a:ln>
                  <a:noFill/>
                </a:ln>
                <a:solidFill>
                  <a:prstClr val="white"/>
                </a:solidFill>
                <a:effectLst/>
                <a:uLnTx/>
                <a:uFillTx/>
                <a:latin typeface="ACHS Nueva Sans" pitchFamily="2" charset="0"/>
              </a:rPr>
              <a:t>(empleador)</a:t>
            </a:r>
            <a:r>
              <a:rPr kumimoji="0" lang="es-CL" sz="1400" b="1" i="0" u="none" strike="noStrike" kern="0" cap="none" spc="0" normalizeH="0" baseline="0" noProof="0" dirty="0">
                <a:ln>
                  <a:noFill/>
                </a:ln>
                <a:solidFill>
                  <a:prstClr val="white"/>
                </a:solidFill>
                <a:effectLst/>
                <a:uLnTx/>
                <a:uFillTx/>
                <a:latin typeface="ACHS Nueva Sans" pitchFamily="2" charset="0"/>
              </a:rPr>
              <a:t> y prestaciones preventivas </a:t>
            </a:r>
            <a:r>
              <a:rPr kumimoji="0" lang="es-CL" sz="1400" b="0" i="0" u="none" strike="noStrike" kern="0" cap="none" spc="0" normalizeH="0" baseline="0" noProof="0" dirty="0">
                <a:ln>
                  <a:noFill/>
                </a:ln>
                <a:solidFill>
                  <a:prstClr val="white"/>
                </a:solidFill>
                <a:effectLst/>
                <a:uLnTx/>
                <a:uFillTx/>
                <a:latin typeface="ACHS Nueva Sans" pitchFamily="2" charset="0"/>
              </a:rPr>
              <a:t>(OAL)</a:t>
            </a:r>
          </a:p>
        </p:txBody>
      </p:sp>
      <p:grpSp>
        <p:nvGrpSpPr>
          <p:cNvPr id="10" name="Grupo 9">
            <a:extLst>
              <a:ext uri="{FF2B5EF4-FFF2-40B4-BE49-F238E27FC236}">
                <a16:creationId xmlns="" xmlns:a16="http://schemas.microsoft.com/office/drawing/2014/main" id="{8C61FCAF-F880-7E4E-BE3E-A3432F054144}"/>
              </a:ext>
            </a:extLst>
          </p:cNvPr>
          <p:cNvGrpSpPr/>
          <p:nvPr/>
        </p:nvGrpSpPr>
        <p:grpSpPr>
          <a:xfrm>
            <a:off x="718907" y="2589504"/>
            <a:ext cx="2913600" cy="3991907"/>
            <a:chOff x="447577" y="2127521"/>
            <a:chExt cx="2884752" cy="4253799"/>
          </a:xfrm>
          <a:solidFill>
            <a:sysClr val="window" lastClr="FFFFFF"/>
          </a:solidFill>
        </p:grpSpPr>
        <p:sp>
          <p:nvSpPr>
            <p:cNvPr id="11" name="Rectángulo 10">
              <a:extLst>
                <a:ext uri="{FF2B5EF4-FFF2-40B4-BE49-F238E27FC236}">
                  <a16:creationId xmlns="" xmlns:a16="http://schemas.microsoft.com/office/drawing/2014/main" id="{6FB3707B-4769-CC6E-E6EA-B72679B2C0FE}"/>
                </a:ext>
              </a:extLst>
            </p:cNvPr>
            <p:cNvSpPr/>
            <p:nvPr/>
          </p:nvSpPr>
          <p:spPr>
            <a:xfrm>
              <a:off x="447577" y="2127521"/>
              <a:ext cx="2884752" cy="1403107"/>
            </a:xfrm>
            <a:prstGeom prst="rect">
              <a:avLst/>
            </a:prstGeom>
            <a:grp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Ley 16.744, de 1968</a:t>
              </a:r>
            </a:p>
            <a:p>
              <a:pPr marL="0" marR="0" lvl="0" indent="0" defTabSz="914400" eaLnBrk="1" fontAlgn="auto" latinLnBrk="0" hangingPunct="1">
                <a:lnSpc>
                  <a:spcPct val="100000"/>
                </a:lnSpc>
                <a:spcBef>
                  <a:spcPts val="0"/>
                </a:spcBef>
                <a:spcAft>
                  <a:spcPts val="0"/>
                </a:spcAft>
                <a:buClrTx/>
                <a:buSzTx/>
                <a:buFontTx/>
                <a:buNone/>
                <a:tabLst/>
                <a:defRPr/>
              </a:pPr>
              <a:r>
                <a:rPr kumimoji="0" lang="es-CL" sz="1200" b="0" i="0" u="none" strike="noStrike" kern="0" cap="none" spc="0" normalizeH="0" baseline="0" noProof="0" dirty="0">
                  <a:ln>
                    <a:noFill/>
                  </a:ln>
                  <a:solidFill>
                    <a:srgbClr val="000000"/>
                  </a:solidFill>
                  <a:effectLst/>
                  <a:uLnTx/>
                  <a:uFillTx/>
                  <a:latin typeface="ACHS Nueva Sans" pitchFamily="2" charset="0"/>
                </a:rPr>
                <a:t>Establece normas sobre accidentes de trabajo y enfermedades profesionales</a:t>
              </a:r>
            </a:p>
          </p:txBody>
        </p:sp>
        <p:sp>
          <p:nvSpPr>
            <p:cNvPr id="12" name="Rectángulo 11">
              <a:extLst>
                <a:ext uri="{FF2B5EF4-FFF2-40B4-BE49-F238E27FC236}">
                  <a16:creationId xmlns="" xmlns:a16="http://schemas.microsoft.com/office/drawing/2014/main" id="{0303652E-BE80-52F3-0909-D20CEE596C0E}"/>
                </a:ext>
              </a:extLst>
            </p:cNvPr>
            <p:cNvSpPr/>
            <p:nvPr/>
          </p:nvSpPr>
          <p:spPr>
            <a:xfrm>
              <a:off x="447577" y="3942867"/>
              <a:ext cx="2884751" cy="2438453"/>
            </a:xfrm>
            <a:prstGeom prst="rect">
              <a:avLst/>
            </a:prstGeom>
            <a:grp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Código del trabajo</a:t>
              </a:r>
            </a:p>
            <a:p>
              <a:pPr marL="0" marR="0" lvl="0" indent="0" defTabSz="914400" eaLnBrk="1" fontAlgn="auto" latinLnBrk="0" hangingPunct="1">
                <a:lnSpc>
                  <a:spcPct val="100000"/>
                </a:lnSpc>
                <a:spcBef>
                  <a:spcPts val="0"/>
                </a:spcBef>
                <a:spcAft>
                  <a:spcPts val="0"/>
                </a:spcAft>
                <a:buClrTx/>
                <a:buSzTx/>
                <a:buFontTx/>
                <a:buNone/>
                <a:tabLst/>
                <a:defRPr/>
              </a:pPr>
              <a:r>
                <a:rPr kumimoji="0" lang="es-CL" sz="1200" b="0" i="0" u="none" strike="noStrike" kern="0" cap="none" spc="0" normalizeH="0" baseline="0" noProof="0" dirty="0">
                  <a:ln>
                    <a:noFill/>
                  </a:ln>
                  <a:solidFill>
                    <a:srgbClr val="000000"/>
                  </a:solidFill>
                  <a:effectLst/>
                  <a:uLnTx/>
                  <a:uFillTx/>
                  <a:latin typeface="ACHS Nueva Sans" pitchFamily="2" charset="0"/>
                </a:rPr>
                <a:t>Regula las relaciones laborales entre trabajadores y empleadores del sector privado</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200" b="0" i="0" u="none" strike="noStrike" kern="0" cap="none" spc="0" normalizeH="0" baseline="0" noProof="0" dirty="0">
                <a:ln>
                  <a:noFill/>
                </a:ln>
                <a:solidFill>
                  <a:srgbClr val="000000"/>
                </a:solidFill>
                <a:effectLst/>
                <a:uLnTx/>
                <a:uFillTx/>
                <a:latin typeface="ACHS Nueva Sans"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Código Sanitario</a:t>
              </a:r>
            </a:p>
            <a:p>
              <a:pPr marL="0" marR="0" lvl="0" indent="0" defTabSz="914400" eaLnBrk="1" fontAlgn="auto" latinLnBrk="0" hangingPunct="1">
                <a:lnSpc>
                  <a:spcPct val="100000"/>
                </a:lnSpc>
                <a:spcBef>
                  <a:spcPts val="0"/>
                </a:spcBef>
                <a:spcAft>
                  <a:spcPts val="0"/>
                </a:spcAft>
                <a:buClrTx/>
                <a:buSzTx/>
                <a:buFontTx/>
                <a:buNone/>
                <a:tabLst/>
                <a:defRPr/>
              </a:pPr>
              <a:r>
                <a:rPr kumimoji="0" lang="es-MX" sz="1200" b="0" i="0" u="none" strike="noStrike" kern="0" cap="none" spc="0" normalizeH="0" baseline="0" noProof="0" dirty="0">
                  <a:ln>
                    <a:noFill/>
                  </a:ln>
                  <a:solidFill>
                    <a:srgbClr val="000000"/>
                  </a:solidFill>
                  <a:effectLst/>
                  <a:uLnTx/>
                  <a:uFillTx/>
                  <a:latin typeface="ACHS Nueva Sans" pitchFamily="2" charset="0"/>
                </a:rPr>
                <a:t>Regula aspectos de la higiene y seguridad del ambiente y de los lugares de trabajo</a:t>
              </a:r>
              <a:endParaRPr kumimoji="0" lang="es-CL" sz="1200" b="0" i="0" u="none" strike="noStrike" kern="0" cap="none" spc="0" normalizeH="0" baseline="0" noProof="0" dirty="0">
                <a:ln>
                  <a:noFill/>
                </a:ln>
                <a:solidFill>
                  <a:srgbClr val="000000"/>
                </a:solidFill>
                <a:effectLst/>
                <a:uLnTx/>
                <a:uFillTx/>
                <a:latin typeface="ACHS Nueva Sans" pitchFamily="2" charset="0"/>
              </a:endParaRPr>
            </a:p>
          </p:txBody>
        </p:sp>
      </p:grpSp>
      <p:sp>
        <p:nvSpPr>
          <p:cNvPr id="15" name="Rectángulo 14">
            <a:extLst>
              <a:ext uri="{FF2B5EF4-FFF2-40B4-BE49-F238E27FC236}">
                <a16:creationId xmlns="" xmlns:a16="http://schemas.microsoft.com/office/drawing/2014/main" id="{B3C026F0-D36C-589E-6699-7A9292983996}"/>
              </a:ext>
            </a:extLst>
          </p:cNvPr>
          <p:cNvSpPr/>
          <p:nvPr/>
        </p:nvSpPr>
        <p:spPr>
          <a:xfrm>
            <a:off x="4031127" y="4257893"/>
            <a:ext cx="4005207" cy="745610"/>
          </a:xfrm>
          <a:prstGeom prst="rect">
            <a:avLst/>
          </a:prstGeom>
          <a:solidFill>
            <a:sysClr val="window" lastClr="FFFFFF"/>
          </a:solid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D.S. N°594, de 1999</a:t>
            </a:r>
            <a:r>
              <a:rPr kumimoji="0" lang="es-CL" sz="1200" b="0" i="0" u="none" strike="noStrike" kern="0" cap="none" spc="0" normalizeH="0" baseline="0" noProof="0" dirty="0">
                <a:ln>
                  <a:noFill/>
                </a:ln>
                <a:solidFill>
                  <a:srgbClr val="000000"/>
                </a:solidFill>
                <a:effectLst/>
                <a:uLnTx/>
                <a:uFillTx/>
                <a:latin typeface="ACHS Nueva Sans" pitchFamily="2" charset="0"/>
              </a:rPr>
              <a:t>, MINSAL</a:t>
            </a:r>
          </a:p>
          <a:p>
            <a:pPr marL="0" marR="0" lvl="0" indent="0" defTabSz="914400" eaLnBrk="1" fontAlgn="auto" latinLnBrk="0" hangingPunct="1">
              <a:lnSpc>
                <a:spcPct val="100000"/>
              </a:lnSpc>
              <a:spcBef>
                <a:spcPts val="0"/>
              </a:spcBef>
              <a:spcAft>
                <a:spcPts val="0"/>
              </a:spcAft>
              <a:buClrTx/>
              <a:buSzTx/>
              <a:buFontTx/>
              <a:buNone/>
              <a:tabLst/>
              <a:defRPr/>
            </a:pPr>
            <a:r>
              <a:rPr kumimoji="0" lang="es-CL" sz="1200" b="0" i="0" u="none" strike="noStrike" kern="0" cap="none" spc="0" normalizeH="0" baseline="0" noProof="0" dirty="0">
                <a:ln>
                  <a:noFill/>
                </a:ln>
                <a:solidFill>
                  <a:srgbClr val="000000"/>
                </a:solidFill>
                <a:effectLst/>
                <a:uLnTx/>
                <a:uFillTx/>
                <a:latin typeface="ACHS Nueva Sans" pitchFamily="2" charset="0"/>
              </a:rPr>
              <a:t>Obligación de mantener en los lugares de trabajo las condiciones sanitarias y ambientales básicas</a:t>
            </a:r>
          </a:p>
        </p:txBody>
      </p:sp>
      <p:sp>
        <p:nvSpPr>
          <p:cNvPr id="16" name="Rectángulo 15">
            <a:extLst>
              <a:ext uri="{FF2B5EF4-FFF2-40B4-BE49-F238E27FC236}">
                <a16:creationId xmlns="" xmlns:a16="http://schemas.microsoft.com/office/drawing/2014/main" id="{299453D9-DDB1-B924-CB7F-6D7F3B852CCB}"/>
              </a:ext>
            </a:extLst>
          </p:cNvPr>
          <p:cNvSpPr/>
          <p:nvPr/>
        </p:nvSpPr>
        <p:spPr>
          <a:xfrm>
            <a:off x="4031127" y="5092088"/>
            <a:ext cx="4005207" cy="744535"/>
          </a:xfrm>
          <a:prstGeom prst="rect">
            <a:avLst/>
          </a:prstGeom>
          <a:solidFill>
            <a:sysClr val="window" lastClr="FFFFFF"/>
          </a:solid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D.S. N°76, de 2006</a:t>
            </a:r>
            <a:r>
              <a:rPr kumimoji="0" lang="es-CL" sz="1200" b="0" i="0" u="none" strike="noStrike" kern="0" cap="none" spc="0" normalizeH="0" baseline="0" noProof="0" dirty="0">
                <a:ln>
                  <a:noFill/>
                </a:ln>
                <a:solidFill>
                  <a:srgbClr val="000000"/>
                </a:solidFill>
                <a:effectLst/>
                <a:uLnTx/>
                <a:uFillTx/>
                <a:latin typeface="ACHS Nueva Sans" pitchFamily="2" charset="0"/>
              </a:rPr>
              <a:t>, MINTRAB</a:t>
            </a:r>
          </a:p>
          <a:p>
            <a:pPr marL="0" marR="0" lvl="0" indent="0" defTabSz="914400" eaLnBrk="1" fontAlgn="auto" latinLnBrk="0" hangingPunct="1">
              <a:lnSpc>
                <a:spcPct val="100000"/>
              </a:lnSpc>
              <a:spcBef>
                <a:spcPts val="0"/>
              </a:spcBef>
              <a:spcAft>
                <a:spcPts val="0"/>
              </a:spcAft>
              <a:buClrTx/>
              <a:buSzTx/>
              <a:buFontTx/>
              <a:buNone/>
              <a:tabLst/>
              <a:defRPr/>
            </a:pPr>
            <a:r>
              <a:rPr kumimoji="0" lang="es-CL" sz="1200" b="0" i="0" u="none" strike="noStrike" kern="0" cap="none" spc="0" normalizeH="0" baseline="0" noProof="0" dirty="0">
                <a:ln>
                  <a:noFill/>
                </a:ln>
                <a:solidFill>
                  <a:srgbClr val="000000"/>
                </a:solidFill>
                <a:effectLst/>
                <a:uLnTx/>
                <a:uFillTx/>
                <a:latin typeface="ACHS Nueva Sans" pitchFamily="2" charset="0"/>
              </a:rPr>
              <a:t>Gestión de la Seguridad y Salud en el trabajo en obras o faenas</a:t>
            </a:r>
          </a:p>
        </p:txBody>
      </p:sp>
      <p:sp>
        <p:nvSpPr>
          <p:cNvPr id="18" name="Rectángulo 17">
            <a:extLst>
              <a:ext uri="{FF2B5EF4-FFF2-40B4-BE49-F238E27FC236}">
                <a16:creationId xmlns="" xmlns:a16="http://schemas.microsoft.com/office/drawing/2014/main" id="{263AF70C-70EF-5CB7-8509-F37404E4824A}"/>
              </a:ext>
            </a:extLst>
          </p:cNvPr>
          <p:cNvSpPr/>
          <p:nvPr/>
        </p:nvSpPr>
        <p:spPr>
          <a:xfrm>
            <a:off x="4031127" y="5926285"/>
            <a:ext cx="4005207" cy="655127"/>
          </a:xfrm>
          <a:prstGeom prst="rect">
            <a:avLst/>
          </a:prstGeom>
          <a:solidFill>
            <a:sysClr val="window" lastClr="FFFFFF"/>
          </a:solid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0" i="0" u="none" strike="noStrike" kern="0" cap="none" spc="0" normalizeH="0" baseline="0" noProof="0" dirty="0">
                <a:ln>
                  <a:noFill/>
                </a:ln>
                <a:solidFill>
                  <a:srgbClr val="000000"/>
                </a:solidFill>
                <a:effectLst/>
                <a:uLnTx/>
                <a:uFillTx/>
                <a:latin typeface="ACHS Nueva Sans" pitchFamily="2" charset="0"/>
              </a:rPr>
              <a:t>Otras leyes, </a:t>
            </a:r>
            <a:r>
              <a:rPr kumimoji="0" lang="es-CL" sz="1200" b="1" i="0" u="none" strike="noStrike" kern="0" cap="none" spc="0" normalizeH="0" baseline="0" noProof="0" dirty="0">
                <a:ln>
                  <a:noFill/>
                </a:ln>
                <a:solidFill>
                  <a:srgbClr val="000000"/>
                </a:solidFill>
                <a:effectLst/>
                <a:uLnTx/>
                <a:uFillTx/>
                <a:latin typeface="ACHS Nueva Sans" pitchFamily="2" charset="0"/>
              </a:rPr>
              <a:t>reglamentos, decretos, ordinarios </a:t>
            </a:r>
            <a:r>
              <a:rPr kumimoji="0" lang="es-CL" sz="1200" b="0" i="0" u="none" strike="noStrike" kern="0" cap="none" spc="0" normalizeH="0" baseline="0" noProof="0" dirty="0">
                <a:ln>
                  <a:noFill/>
                </a:ln>
                <a:solidFill>
                  <a:srgbClr val="000000"/>
                </a:solidFill>
                <a:effectLst/>
                <a:uLnTx/>
                <a:uFillTx/>
                <a:latin typeface="ACHS Nueva Sans" pitchFamily="2" charset="0"/>
              </a:rPr>
              <a:t>que establecen requerimientos particulares</a:t>
            </a:r>
          </a:p>
        </p:txBody>
      </p:sp>
      <p:sp>
        <p:nvSpPr>
          <p:cNvPr id="19" name="Rectángulo 18">
            <a:extLst>
              <a:ext uri="{FF2B5EF4-FFF2-40B4-BE49-F238E27FC236}">
                <a16:creationId xmlns="" xmlns:a16="http://schemas.microsoft.com/office/drawing/2014/main" id="{3584645B-90B2-1BAF-4F2B-4E879E0FFFA1}"/>
              </a:ext>
            </a:extLst>
          </p:cNvPr>
          <p:cNvSpPr/>
          <p:nvPr/>
        </p:nvSpPr>
        <p:spPr>
          <a:xfrm>
            <a:off x="4031127" y="1759437"/>
            <a:ext cx="4005207" cy="736164"/>
          </a:xfrm>
          <a:prstGeom prst="rect">
            <a:avLst/>
          </a:prstGeom>
          <a:solidFill>
            <a:srgbClr val="13C045"/>
          </a:solidFill>
          <a:ln w="12700" cap="flat" cmpd="sng" algn="ctr">
            <a:solidFill>
              <a:srgbClr val="13C045"/>
            </a:solidFill>
            <a:prstDash val="solid"/>
            <a:miter lim="800000"/>
          </a:ln>
          <a:effectLst/>
        </p:spPr>
        <p:txBody>
          <a:bodyPr lIns="72000" tIns="3600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L" sz="1400" b="1" i="0" u="none" strike="noStrike" kern="0" cap="none" spc="0" normalizeH="0" baseline="0" noProof="0" dirty="0">
                <a:ln>
                  <a:noFill/>
                </a:ln>
                <a:solidFill>
                  <a:prstClr val="white"/>
                </a:solidFill>
                <a:effectLst/>
                <a:uLnTx/>
                <a:uFillTx/>
                <a:latin typeface="ACHS Nueva Sans" pitchFamily="2" charset="0"/>
              </a:rPr>
              <a:t>Normas específicas sobre SST </a:t>
            </a:r>
            <a:r>
              <a:rPr kumimoji="0" lang="es-CL" sz="1400" b="0" i="0" u="none" strike="noStrike" kern="0" cap="none" spc="0" normalizeH="0" baseline="0" noProof="0" dirty="0">
                <a:ln>
                  <a:noFill/>
                </a:ln>
                <a:solidFill>
                  <a:prstClr val="white"/>
                </a:solidFill>
                <a:effectLst/>
                <a:uLnTx/>
                <a:uFillTx/>
                <a:latin typeface="ACHS Nueva Sans" pitchFamily="2" charset="0"/>
              </a:rPr>
              <a:t>(empleador)</a:t>
            </a:r>
            <a:r>
              <a:rPr kumimoji="0" lang="es-CL" sz="1400" b="1" i="0" u="none" strike="noStrike" kern="0" cap="none" spc="0" normalizeH="0" baseline="0" noProof="0" dirty="0">
                <a:ln>
                  <a:noFill/>
                </a:ln>
                <a:solidFill>
                  <a:prstClr val="white"/>
                </a:solidFill>
                <a:effectLst/>
                <a:uLnTx/>
                <a:uFillTx/>
                <a:latin typeface="ACHS Nueva Sans" pitchFamily="2" charset="0"/>
              </a:rPr>
              <a:t> y prestaciones preventivas </a:t>
            </a:r>
            <a:r>
              <a:rPr kumimoji="0" lang="es-CL" sz="1400" b="0" i="0" u="none" strike="noStrike" kern="0" cap="none" spc="0" normalizeH="0" baseline="0" noProof="0" dirty="0">
                <a:ln>
                  <a:noFill/>
                </a:ln>
                <a:solidFill>
                  <a:prstClr val="white"/>
                </a:solidFill>
                <a:effectLst/>
                <a:uLnTx/>
                <a:uFillTx/>
                <a:latin typeface="ACHS Nueva Sans" pitchFamily="2" charset="0"/>
              </a:rPr>
              <a:t>(OAL)</a:t>
            </a:r>
          </a:p>
        </p:txBody>
      </p:sp>
      <p:sp>
        <p:nvSpPr>
          <p:cNvPr id="20" name="Rectángulo 19">
            <a:extLst>
              <a:ext uri="{FF2B5EF4-FFF2-40B4-BE49-F238E27FC236}">
                <a16:creationId xmlns="" xmlns:a16="http://schemas.microsoft.com/office/drawing/2014/main" id="{D83AFCC8-FB84-4512-F2DB-50D016439B5A}"/>
              </a:ext>
            </a:extLst>
          </p:cNvPr>
          <p:cNvSpPr/>
          <p:nvPr/>
        </p:nvSpPr>
        <p:spPr>
          <a:xfrm>
            <a:off x="8434955" y="2589502"/>
            <a:ext cx="2913600" cy="3991909"/>
          </a:xfrm>
          <a:prstGeom prst="rect">
            <a:avLst/>
          </a:prstGeom>
          <a:solidFill>
            <a:sysClr val="window" lastClr="FFFFFF"/>
          </a:solidFill>
          <a:ln w="12700" cap="flat" cmpd="sng" algn="ctr">
            <a:solidFill>
              <a:srgbClr val="13C045"/>
            </a:solidFill>
            <a:prstDash val="solid"/>
            <a:miter lim="800000"/>
          </a:ln>
          <a:effectLst/>
        </p:spPr>
        <p:txBody>
          <a:bodyPr lIns="72000" tIns="36000" rIns="3600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s-CL" sz="1200" b="1" i="0" u="none" strike="noStrike" kern="0" cap="none" spc="0" normalizeH="0" baseline="0" noProof="0" dirty="0">
                <a:ln>
                  <a:noFill/>
                </a:ln>
                <a:solidFill>
                  <a:srgbClr val="000000"/>
                </a:solidFill>
                <a:effectLst/>
                <a:uLnTx/>
                <a:uFillTx/>
                <a:latin typeface="ACHS Nueva Sans" pitchFamily="2" charset="0"/>
              </a:rPr>
              <a:t>Compendio de Normas del Seguro Social de Accidentes del Trabajo </a:t>
            </a:r>
            <a:r>
              <a:rPr kumimoji="0" lang="es-CL" sz="1200" b="0" i="0" u="none" strike="noStrike" kern="0" cap="none" spc="0" normalizeH="0" baseline="0" noProof="0" dirty="0">
                <a:ln>
                  <a:noFill/>
                </a:ln>
                <a:solidFill>
                  <a:srgbClr val="000000"/>
                </a:solidFill>
                <a:effectLst/>
                <a:uLnTx/>
                <a:uFillTx/>
                <a:latin typeface="ACHS Nueva Sans" pitchFamily="2" charset="0"/>
              </a:rPr>
              <a:t>y Enfermedades Profesionales, SUSESO</a:t>
            </a:r>
          </a:p>
        </p:txBody>
      </p:sp>
      <p:sp>
        <p:nvSpPr>
          <p:cNvPr id="21" name="Rectángulo 20">
            <a:extLst>
              <a:ext uri="{FF2B5EF4-FFF2-40B4-BE49-F238E27FC236}">
                <a16:creationId xmlns="" xmlns:a16="http://schemas.microsoft.com/office/drawing/2014/main" id="{9D31C5EF-3789-6CC3-B6AD-815E5861B4B4}"/>
              </a:ext>
            </a:extLst>
          </p:cNvPr>
          <p:cNvSpPr/>
          <p:nvPr/>
        </p:nvSpPr>
        <p:spPr>
          <a:xfrm>
            <a:off x="8434955" y="1759437"/>
            <a:ext cx="2913600" cy="736164"/>
          </a:xfrm>
          <a:prstGeom prst="rect">
            <a:avLst/>
          </a:prstGeom>
          <a:solidFill>
            <a:srgbClr val="13C045"/>
          </a:solidFill>
          <a:ln w="12700" cap="flat" cmpd="sng" algn="ctr">
            <a:solidFill>
              <a:srgbClr val="13C045"/>
            </a:solidFill>
            <a:prstDash val="solid"/>
            <a:miter lim="800000"/>
          </a:ln>
          <a:effectLst/>
        </p:spPr>
        <p:txBody>
          <a:bodyPr lIns="72000" tIns="3600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L" sz="1400" b="1" i="0" u="none" strike="noStrike" kern="0" cap="none" spc="0" normalizeH="0" baseline="0" noProof="0" dirty="0">
                <a:ln>
                  <a:noFill/>
                </a:ln>
                <a:solidFill>
                  <a:prstClr val="white"/>
                </a:solidFill>
                <a:effectLst/>
                <a:uLnTx/>
                <a:uFillTx/>
                <a:latin typeface="ACHS Nueva Sans" pitchFamily="2" charset="0"/>
              </a:rPr>
              <a:t>Interpretación y normas de mayor especificidad sobre las prestaciones preventivas </a:t>
            </a:r>
            <a:r>
              <a:rPr kumimoji="0" lang="es-CL" sz="1400" b="0" i="0" u="none" strike="noStrike" kern="0" cap="none" spc="0" normalizeH="0" baseline="0" noProof="0" dirty="0">
                <a:ln>
                  <a:noFill/>
                </a:ln>
                <a:solidFill>
                  <a:prstClr val="white"/>
                </a:solidFill>
                <a:effectLst/>
                <a:uLnTx/>
                <a:uFillTx/>
                <a:latin typeface="ACHS Nueva Sans" pitchFamily="2" charset="0"/>
              </a:rPr>
              <a:t>(OAL)</a:t>
            </a:r>
          </a:p>
        </p:txBody>
      </p:sp>
      <p:sp>
        <p:nvSpPr>
          <p:cNvPr id="22" name="Título 2"/>
          <p:cNvSpPr txBox="1">
            <a:spLocks/>
          </p:cNvSpPr>
          <p:nvPr/>
        </p:nvSpPr>
        <p:spPr>
          <a:xfrm>
            <a:off x="718907" y="1298012"/>
            <a:ext cx="9792000" cy="3648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ACHS Nueva Serif" pitchFamily="2" charset="0"/>
                <a:ea typeface="+mj-ea"/>
                <a:cs typeface="+mj-cs"/>
              </a:defRPr>
            </a:lvl1pPr>
          </a:lstStyle>
          <a:p>
            <a:pPr marL="9438" defTabSz="1083591">
              <a:tabLst>
                <a:tab pos="222263" algn="l"/>
                <a:tab pos="222735" algn="l"/>
              </a:tabLst>
              <a:defRPr/>
            </a:pPr>
            <a:r>
              <a:rPr lang="es-MX" sz="1800">
                <a:solidFill>
                  <a:srgbClr val="014B14"/>
                </a:solidFill>
              </a:rPr>
              <a:t>Esquema normativo actual de la Seguridad y Salud en el Trabajo (SST)</a:t>
            </a:r>
            <a:endParaRPr lang="es-CL" sz="1800" dirty="0">
              <a:solidFill>
                <a:srgbClr val="014B14"/>
              </a:solidFill>
              <a:latin typeface="+mn-lt"/>
              <a:cs typeface="+mn-cs"/>
            </a:endParaRPr>
          </a:p>
        </p:txBody>
      </p:sp>
      <p:sp>
        <p:nvSpPr>
          <p:cNvPr id="23" name="Rectángulo 22">
            <a:extLst>
              <a:ext uri="{FF2B5EF4-FFF2-40B4-BE49-F238E27FC236}">
                <a16:creationId xmlns:a16="http://schemas.microsoft.com/office/drawing/2014/main" xmlns="" id="{77187A8B-0A6A-C354-CDF5-EDEB521B8235}"/>
              </a:ext>
            </a:extLst>
          </p:cNvPr>
          <p:cNvSpPr/>
          <p:nvPr/>
        </p:nvSpPr>
        <p:spPr>
          <a:xfrm>
            <a:off x="4685716" y="2590588"/>
            <a:ext cx="3350078" cy="737600"/>
          </a:xfrm>
          <a:prstGeom prst="rect">
            <a:avLst/>
          </a:prstGeom>
          <a:solidFill>
            <a:srgbClr val="EAEADE"/>
          </a:solidFill>
          <a:ln>
            <a:solidFill>
              <a:srgbClr val="0FC04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0" rtlCol="0" anchor="t" anchorCtr="0"/>
          <a:lstStyle/>
          <a:p>
            <a:r>
              <a:rPr lang="es-CL" sz="1400" b="1" dirty="0">
                <a:solidFill>
                  <a:schemeClr val="tx1"/>
                </a:solidFill>
              </a:rPr>
              <a:t>D.S. N°40, de 1969</a:t>
            </a:r>
            <a:r>
              <a:rPr lang="es-CL" sz="1400" dirty="0">
                <a:solidFill>
                  <a:schemeClr val="tx1"/>
                </a:solidFill>
              </a:rPr>
              <a:t>, </a:t>
            </a:r>
            <a:r>
              <a:rPr lang="es-CL" sz="1400" dirty="0" smtClean="0">
                <a:solidFill>
                  <a:schemeClr val="tx1"/>
                </a:solidFill>
              </a:rPr>
              <a:t>MINTRAB</a:t>
            </a:r>
          </a:p>
          <a:p>
            <a:r>
              <a:rPr lang="es-CL" sz="1400" dirty="0" smtClean="0">
                <a:solidFill>
                  <a:schemeClr val="tx1"/>
                </a:solidFill>
              </a:rPr>
              <a:t>Regula conformación </a:t>
            </a:r>
            <a:r>
              <a:rPr lang="es-CL" sz="1400" dirty="0">
                <a:solidFill>
                  <a:schemeClr val="tx1"/>
                </a:solidFill>
              </a:rPr>
              <a:t>y funcionamiento de los </a:t>
            </a:r>
            <a:r>
              <a:rPr lang="es-CL" sz="1400" dirty="0" smtClean="0">
                <a:solidFill>
                  <a:schemeClr val="tx1"/>
                </a:solidFill>
              </a:rPr>
              <a:t>Departamentos </a:t>
            </a:r>
            <a:r>
              <a:rPr lang="es-CL" sz="1400" dirty="0">
                <a:solidFill>
                  <a:schemeClr val="tx1"/>
                </a:solidFill>
              </a:rPr>
              <a:t>de prevención</a:t>
            </a:r>
          </a:p>
        </p:txBody>
      </p:sp>
      <p:sp>
        <p:nvSpPr>
          <p:cNvPr id="24" name="Rectángulo 23">
            <a:extLst>
              <a:ext uri="{FF2B5EF4-FFF2-40B4-BE49-F238E27FC236}">
                <a16:creationId xmlns:a16="http://schemas.microsoft.com/office/drawing/2014/main" xmlns="" id="{87B21DED-D0A8-BEF4-8841-638C6306ACD8}"/>
              </a:ext>
            </a:extLst>
          </p:cNvPr>
          <p:cNvSpPr/>
          <p:nvPr/>
        </p:nvSpPr>
        <p:spPr>
          <a:xfrm>
            <a:off x="4685716" y="3424783"/>
            <a:ext cx="3350078" cy="746685"/>
          </a:xfrm>
          <a:prstGeom prst="rect">
            <a:avLst/>
          </a:prstGeom>
          <a:solidFill>
            <a:srgbClr val="EAEADE"/>
          </a:solidFill>
          <a:ln>
            <a:solidFill>
              <a:srgbClr val="0FC04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0" rtlCol="0" anchor="t" anchorCtr="0"/>
          <a:lstStyle/>
          <a:p>
            <a:r>
              <a:rPr lang="es-CL" sz="1400" b="1" dirty="0">
                <a:solidFill>
                  <a:schemeClr val="tx1"/>
                </a:solidFill>
              </a:rPr>
              <a:t>D.S. N°54, de 1969</a:t>
            </a:r>
            <a:r>
              <a:rPr lang="es-CL" sz="1400" dirty="0">
                <a:solidFill>
                  <a:schemeClr val="tx1"/>
                </a:solidFill>
              </a:rPr>
              <a:t>, MINTRAB</a:t>
            </a:r>
          </a:p>
          <a:p>
            <a:pPr algn="l"/>
            <a:r>
              <a:rPr lang="es-CL" sz="1400" dirty="0" smtClean="0">
                <a:solidFill>
                  <a:schemeClr val="tx1"/>
                </a:solidFill>
              </a:rPr>
              <a:t>Constitución </a:t>
            </a:r>
            <a:r>
              <a:rPr lang="es-CL" sz="1400" dirty="0">
                <a:solidFill>
                  <a:schemeClr val="tx1"/>
                </a:solidFill>
              </a:rPr>
              <a:t>y funcionamiento </a:t>
            </a:r>
            <a:r>
              <a:rPr lang="es-CL" sz="1400" dirty="0" smtClean="0">
                <a:solidFill>
                  <a:schemeClr val="tx1"/>
                </a:solidFill>
              </a:rPr>
              <a:t>de Comités paritarios </a:t>
            </a:r>
            <a:r>
              <a:rPr lang="es-CL" sz="1400" dirty="0">
                <a:solidFill>
                  <a:schemeClr val="tx1"/>
                </a:solidFill>
              </a:rPr>
              <a:t>de </a:t>
            </a:r>
            <a:r>
              <a:rPr lang="es-CL" sz="1400" dirty="0" smtClean="0">
                <a:solidFill>
                  <a:schemeClr val="tx1"/>
                </a:solidFill>
              </a:rPr>
              <a:t>Higiene y Seguridad</a:t>
            </a:r>
            <a:endParaRPr lang="es-CL" sz="1400" dirty="0">
              <a:solidFill>
                <a:schemeClr val="tx1"/>
              </a:solidFill>
            </a:endParaRPr>
          </a:p>
        </p:txBody>
      </p:sp>
      <p:sp>
        <p:nvSpPr>
          <p:cNvPr id="25" name="Rectángulo 24">
            <a:extLst>
              <a:ext uri="{FF2B5EF4-FFF2-40B4-BE49-F238E27FC236}">
                <a16:creationId xmlns:a16="http://schemas.microsoft.com/office/drawing/2014/main" xmlns="" id="{263AF70C-70EF-5CB7-8509-F37404E4824A}"/>
              </a:ext>
            </a:extLst>
          </p:cNvPr>
          <p:cNvSpPr/>
          <p:nvPr/>
        </p:nvSpPr>
        <p:spPr>
          <a:xfrm rot="16200000">
            <a:off x="3566152" y="3056543"/>
            <a:ext cx="1584000" cy="655127"/>
          </a:xfrm>
          <a:prstGeom prst="rect">
            <a:avLst/>
          </a:prstGeom>
          <a:solidFill>
            <a:srgbClr val="004C1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0" rtlCol="0" anchor="t" anchorCtr="0"/>
          <a:lstStyle/>
          <a:p>
            <a:pPr algn="ctr"/>
            <a:r>
              <a:rPr lang="es-CL" sz="1050" b="1" dirty="0" smtClean="0">
                <a:solidFill>
                  <a:schemeClr val="bg1"/>
                </a:solidFill>
              </a:rPr>
              <a:t>Decretos que serán derogados con entrada en vigencia DTO 44</a:t>
            </a:r>
            <a:endParaRPr lang="es-CL" sz="1050" b="1" dirty="0">
              <a:solidFill>
                <a:schemeClr val="bg1"/>
              </a:solidFill>
            </a:endParaRPr>
          </a:p>
        </p:txBody>
      </p:sp>
    </p:spTree>
    <p:custDataLst>
      <p:tags r:id="rId2"/>
    </p:custDataLst>
    <p:extLst>
      <p:ext uri="{BB962C8B-B14F-4D97-AF65-F5344CB8AC3E}">
        <p14:creationId xmlns:p14="http://schemas.microsoft.com/office/powerpoint/2010/main" val="4017552152"/>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 xmlns:a16="http://schemas.microsoft.com/office/drawing/2014/main"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 xmlns:a16="http://schemas.microsoft.com/office/drawing/2014/main"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 xmlns:a16="http://schemas.microsoft.com/office/drawing/2014/main"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 xmlns:a16="http://schemas.microsoft.com/office/drawing/2014/main"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 xmlns:a16="http://schemas.microsoft.com/office/drawing/2014/main" id="{421B21C9-A480-3A4D-B632-5E1DEC9CC6E2}"/>
              </a:ext>
            </a:extLst>
          </p:cNvPr>
          <p:cNvSpPr/>
          <p:nvPr/>
        </p:nvSpPr>
        <p:spPr>
          <a:xfrm>
            <a:off x="450000" y="496800"/>
            <a:ext cx="6271269"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cerrad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 xmlns:a16="http://schemas.microsoft.com/office/drawing/2014/main"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 xmlns:a16="http://schemas.microsoft.com/office/drawing/2014/main"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 xmlns:a16="http://schemas.microsoft.com/office/drawing/2014/main"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 xmlns:a16="http://schemas.microsoft.com/office/drawing/2014/main"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9" name="Marcador de texto 11">
            <a:extLst>
              <a:ext uri="{FF2B5EF4-FFF2-40B4-BE49-F238E27FC236}">
                <a16:creationId xmlns="" xmlns:a16="http://schemas.microsoft.com/office/drawing/2014/main" id="{BE52C15F-15BC-A949-B856-28C75538B38E}"/>
              </a:ext>
            </a:extLst>
          </p:cNvPr>
          <p:cNvSpPr txBox="1">
            <a:spLocks/>
          </p:cNvSpPr>
          <p:nvPr/>
        </p:nvSpPr>
        <p:spPr>
          <a:xfrm>
            <a:off x="5851683" y="316706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wtus2r43</a:t>
            </a:r>
          </a:p>
        </p:txBody>
      </p:sp>
      <p:pic>
        <p:nvPicPr>
          <p:cNvPr id="20" name="Imagen 19">
            <a:extLst>
              <a:ext uri="{FF2B5EF4-FFF2-40B4-BE49-F238E27FC236}">
                <a16:creationId xmlns="" xmlns:a16="http://schemas.microsoft.com/office/drawing/2014/main" id="{D2607097-8E87-0F4D-AFAF-A118E4A8996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332" t="15879" r="15961" b="32276"/>
          <a:stretch/>
        </p:blipFill>
        <p:spPr>
          <a:xfrm>
            <a:off x="1614519" y="2707416"/>
            <a:ext cx="1705240" cy="1705241"/>
          </a:xfrm>
          <a:prstGeom prst="rect">
            <a:avLst/>
          </a:prstGeom>
        </p:spPr>
      </p:pic>
    </p:spTree>
    <p:custDataLst>
      <p:tags r:id="rId1"/>
    </p:custDataLst>
    <p:extLst>
      <p:ext uri="{BB962C8B-B14F-4D97-AF65-F5344CB8AC3E}">
        <p14:creationId xmlns:p14="http://schemas.microsoft.com/office/powerpoint/2010/main" val="1458797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6575F4B-2741-FE44-822B-CB13912A8A4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12CFB199-A456-F648-BABD-FC268EB54FED}"/>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7D87C4F-C817-8845-8295-061932D3C91C}"/>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 xmlns:a16="http://schemas.microsoft.com/office/drawing/2014/main" id="{C5D4D972-9650-BE40-BE96-77D3505691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 xmlns:a16="http://schemas.microsoft.com/office/drawing/2014/main" id="{1F5E7671-670C-A046-965E-79867D9A7F15}"/>
              </a:ext>
            </a:extLst>
          </p:cNvPr>
          <p:cNvSpPr txBox="1"/>
          <p:nvPr/>
        </p:nvSpPr>
        <p:spPr>
          <a:xfrm>
            <a:off x="5073650" y="4102100"/>
            <a:ext cx="2044700" cy="369332"/>
          </a:xfrm>
          <a:prstGeom prst="rect">
            <a:avLst/>
          </a:prstGeom>
          <a:noFill/>
        </p:spPr>
        <p:txBody>
          <a:bodyPr wrap="square" rtlCol="0">
            <a:spAutoFit/>
          </a:bodyPr>
          <a:lstStyle/>
          <a:p>
            <a:r>
              <a:rPr lang="es-CL" dirty="0">
                <a:solidFill>
                  <a:schemeClr val="bg1"/>
                </a:solidFill>
                <a:latin typeface="ACHS Nueva Serif"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916384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 xmlns:a16="http://schemas.microsoft.com/office/drawing/2014/main" id="{F9506A3C-ED6C-864E-946A-28D52CFBE7C1}"/>
              </a:ext>
            </a:extLst>
          </p:cNvPr>
          <p:cNvSpPr txBox="1"/>
          <p:nvPr/>
        </p:nvSpPr>
        <p:spPr>
          <a:xfrm>
            <a:off x="692297" y="1439976"/>
            <a:ext cx="5831596" cy="3139321"/>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MX" altLang="es-CL" dirty="0">
                <a:solidFill>
                  <a:srgbClr val="014B14"/>
                </a:solidFill>
                <a:latin typeface="ACHS Nueva Sans Medium" pitchFamily="2" charset="0"/>
                <a:cs typeface="Arial" panose="020B0604020202020204" pitchFamily="34" charset="0"/>
              </a:rPr>
              <a:t>Sin embargo, en el año 2010 aconteció un hito que permite colocar en breve tiempo el tema de la SST en la agenda pública, desafiándonos para actualizar nuestro actual marco normativo y sistematizar la gestión preventiva.</a:t>
            </a:r>
          </a:p>
          <a:p>
            <a:pPr marL="285750" indent="-285750" algn="just">
              <a:spcBef>
                <a:spcPct val="0"/>
              </a:spcBef>
              <a:buClr>
                <a:srgbClr val="15BF45"/>
              </a:buClr>
              <a:buFont typeface="Arial" panose="020B0604020202020204" pitchFamily="34" charset="0"/>
              <a:buChar char="•"/>
            </a:pPr>
            <a:endParaRPr lang="es-MX" altLang="es-CL" dirty="0">
              <a:solidFill>
                <a:srgbClr val="014B14"/>
              </a:solidFill>
              <a:latin typeface="ACHS Nueva Sans Medium"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MX" altLang="es-CL" dirty="0">
                <a:solidFill>
                  <a:srgbClr val="014B14"/>
                </a:solidFill>
                <a:latin typeface="ACHS Nueva Sans Medium" pitchFamily="2" charset="0"/>
                <a:cs typeface="Arial" panose="020B0604020202020204" pitchFamily="34" charset="0"/>
              </a:rPr>
              <a:t>Tras este incidente, el presidente de la república del periodo convocó a una comisión de expertos para la entrega de un informe sobre el sistema de seguridad en el trabajo y recomendaciones para su mejoramiento.</a:t>
            </a: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9" name="Rectángulo 8"/>
          <p:cNvSpPr/>
          <p:nvPr/>
        </p:nvSpPr>
        <p:spPr>
          <a:xfrm>
            <a:off x="7004213" y="1502338"/>
            <a:ext cx="4196697" cy="369332"/>
          </a:xfrm>
          <a:prstGeom prst="rect">
            <a:avLst/>
          </a:prstGeom>
        </p:spPr>
        <p:txBody>
          <a:bodyPr wrap="square">
            <a:spAutoFit/>
          </a:bodyPr>
          <a:lstStyle/>
          <a:p>
            <a:r>
              <a:rPr lang="es-CL" b="1" dirty="0">
                <a:latin typeface="Linux Libertine"/>
              </a:rPr>
              <a:t>Rescate de la mina San José</a:t>
            </a:r>
            <a:endParaRPr lang="es-CL" b="1" i="0" dirty="0">
              <a:effectLst/>
              <a:latin typeface="Linux Libertine"/>
            </a:endParaRPr>
          </a:p>
        </p:txBody>
      </p:sp>
      <p:pic>
        <p:nvPicPr>
          <p:cNvPr id="10" name="Imagen 9"/>
          <p:cNvPicPr>
            <a:picLocks noChangeAspect="1"/>
          </p:cNvPicPr>
          <p:nvPr/>
        </p:nvPicPr>
        <p:blipFill>
          <a:blip r:embed="rId9"/>
          <a:stretch>
            <a:fillRect/>
          </a:stretch>
        </p:blipFill>
        <p:spPr>
          <a:xfrm>
            <a:off x="6996886" y="1871670"/>
            <a:ext cx="4889249" cy="3826662"/>
          </a:xfrm>
          <a:prstGeom prst="rect">
            <a:avLst/>
          </a:prstGeom>
        </p:spPr>
      </p:pic>
    </p:spTree>
    <p:custDataLst>
      <p:tags r:id="rId2"/>
    </p:custDataLst>
    <p:extLst>
      <p:ext uri="{BB962C8B-B14F-4D97-AF65-F5344CB8AC3E}">
        <p14:creationId xmlns:p14="http://schemas.microsoft.com/office/powerpoint/2010/main" val="3919242490"/>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384787" y="2730295"/>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40173" y="2705738"/>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194367" y="2692102"/>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17719" y="2627495"/>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20853" y="3076980"/>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67913" y="2681143"/>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489359" y="2582968"/>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22927" y="2921116"/>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59041" y="1029583"/>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54850" y="1941216"/>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34994" y="1952879"/>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29081" y="1984233"/>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58724" y="989378"/>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9999228" y="2041429"/>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66045" y="1029583"/>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2384467030"/>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79" name="Rectángulo redondeado 78"/>
          <p:cNvSpPr/>
          <p:nvPr/>
        </p:nvSpPr>
        <p:spPr>
          <a:xfrm>
            <a:off x="454850" y="1619039"/>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384787" y="2730295"/>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40173" y="2705738"/>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194367" y="2692102"/>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17719" y="2627495"/>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20853" y="3076980"/>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67913" y="2681143"/>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489359" y="2582968"/>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22927" y="2921116"/>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59041" y="1029583"/>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54850" y="1941216"/>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34994" y="1952879"/>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29081" y="1984233"/>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58724" y="989378"/>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9999228" y="2041429"/>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66045" y="1029583"/>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MX" sz="1600" dirty="0">
                <a:solidFill>
                  <a:schemeClr val="bg1"/>
                </a:solidFill>
                <a:latin typeface="ACHS Nueva Sans" pitchFamily="2" charset="0"/>
              </a:rPr>
              <a:t>Promueve la mejora continua de la SST mediante el desarrollo de una política, un sistema y un programa nacional de SST. </a:t>
            </a:r>
            <a:r>
              <a:rPr lang="es-CL" sz="1600" dirty="0">
                <a:solidFill>
                  <a:schemeClr val="bg1"/>
                </a:solidFill>
                <a:latin typeface="ACHS Nueva Sans" pitchFamily="2" charset="0"/>
                <a:cs typeface="Arial" panose="020B0604020202020204" pitchFamily="34" charset="0"/>
              </a:rPr>
              <a:t>Adoptando medidas activas para conseguir de forma </a:t>
            </a:r>
            <a:r>
              <a:rPr lang="es-MX" sz="1600" dirty="0">
                <a:solidFill>
                  <a:schemeClr val="bg1"/>
                </a:solidFill>
                <a:latin typeface="ACHS Nueva Sans" pitchFamily="2" charset="0"/>
                <a:cs typeface="Arial" panose="020B0604020202020204" pitchFamily="34" charset="0"/>
              </a:rPr>
              <a:t>progresiva un medio ambiente de trabajo seguro y saludable mediante los principios recogidos en los instrumentos de la Organización Internacional del Trabajo (OIT).</a:t>
            </a:r>
            <a:endParaRPr lang="es-CL" dirty="0"/>
          </a:p>
        </p:txBody>
      </p:sp>
    </p:spTree>
    <p:custDataLst>
      <p:tags r:id="rId2"/>
    </p:custDataLst>
    <p:extLst>
      <p:ext uri="{BB962C8B-B14F-4D97-AF65-F5344CB8AC3E}">
        <p14:creationId xmlns:p14="http://schemas.microsoft.com/office/powerpoint/2010/main" val="18032575"/>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extLst>
              <p:ext uri="{D42A27DB-BD31-4B8C-83A1-F6EECF244321}">
                <p14:modId xmlns:p14="http://schemas.microsoft.com/office/powerpoint/2010/main" val="379868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redondeado 72">
            <a:extLst>
              <a:ext uri="{FF2B5EF4-FFF2-40B4-BE49-F238E27FC236}">
                <a16:creationId xmlns="" xmlns:a16="http://schemas.microsoft.com/office/drawing/2014/main" id="{73A9A5F5-1AF4-D857-8FF6-22F99A87D388}"/>
              </a:ext>
            </a:extLst>
          </p:cNvPr>
          <p:cNvSpPr/>
          <p:nvPr/>
        </p:nvSpPr>
        <p:spPr>
          <a:xfrm>
            <a:off x="1884018" y="934407"/>
            <a:ext cx="1496139" cy="3778960"/>
          </a:xfrm>
          <a:prstGeom prst="roundRect">
            <a:avLst/>
          </a:prstGeom>
          <a:solidFill>
            <a:srgbClr val="EAEADE"/>
          </a:solidFill>
          <a:ln>
            <a:solidFill>
              <a:srgbClr val="0FC04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a:latin typeface="ACHS Nueva Sans" pitchFamily="2"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384787" y="2730295"/>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40173" y="2705738"/>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194367" y="2692102"/>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17719" y="2627495"/>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20853" y="3076980"/>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67913" y="2681143"/>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489359" y="2582968"/>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22927" y="2921116"/>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59041" y="1029583"/>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54850" y="1941216"/>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34994" y="1952879"/>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29081" y="1984233"/>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58724" y="989378"/>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9999228" y="2041429"/>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66045" y="1029583"/>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Se crea un Consejo Consultivo para la SST, como órgano asesor permanente del Presidente de la República, en todas aquellas materias y actividades relacionadas con la seguridad y salud laboral. </a:t>
            </a:r>
          </a:p>
        </p:txBody>
      </p:sp>
    </p:spTree>
    <p:custDataLst>
      <p:tags r:id="rId2"/>
    </p:custDataLst>
    <p:extLst>
      <p:ext uri="{BB962C8B-B14F-4D97-AF65-F5344CB8AC3E}">
        <p14:creationId xmlns:p14="http://schemas.microsoft.com/office/powerpoint/2010/main" val="2173332311"/>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redondeado 72">
            <a:extLst>
              <a:ext uri="{FF2B5EF4-FFF2-40B4-BE49-F238E27FC236}">
                <a16:creationId xmlns="" xmlns:a16="http://schemas.microsoft.com/office/drawing/2014/main" id="{73A9A5F5-1AF4-D857-8FF6-22F99A87D388}"/>
              </a:ext>
            </a:extLst>
          </p:cNvPr>
          <p:cNvSpPr/>
          <p:nvPr/>
        </p:nvSpPr>
        <p:spPr>
          <a:xfrm>
            <a:off x="3476515" y="1426348"/>
            <a:ext cx="1496139" cy="3778960"/>
          </a:xfrm>
          <a:prstGeom prst="roundRect">
            <a:avLst/>
          </a:prstGeom>
          <a:solidFill>
            <a:srgbClr val="EAEADE"/>
          </a:solidFill>
          <a:ln>
            <a:solidFill>
              <a:srgbClr val="0FC04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a:latin typeface="ACHS Nueva Sans" pitchFamily="2" charset="0"/>
            </a:endParaRPr>
          </a:p>
        </p:txBody>
      </p:sp>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cxnSp>
        <p:nvCxnSpPr>
          <p:cNvPr id="80" name="Conector recto 79">
            <a:extLst>
              <a:ext uri="{FF2B5EF4-FFF2-40B4-BE49-F238E27FC236}">
                <a16:creationId xmlns="" xmlns:a16="http://schemas.microsoft.com/office/drawing/2014/main" id="{483B66B3-BAB4-DA4A-AA72-3F5602939B74}"/>
              </a:ext>
            </a:extLst>
          </p:cNvPr>
          <p:cNvCxnSpPr>
            <a:cxnSpLocks/>
          </p:cNvCxnSpPr>
          <p:nvPr/>
        </p:nvCxnSpPr>
        <p:spPr>
          <a:xfrm flipH="1" flipV="1">
            <a:off x="9384787" y="2730295"/>
            <a:ext cx="943256" cy="567901"/>
          </a:xfrm>
          <a:prstGeom prst="line">
            <a:avLst/>
          </a:prstGeom>
          <a:noFill/>
          <a:ln w="101600" cap="flat" cmpd="sng" algn="ctr">
            <a:solidFill>
              <a:srgbClr val="7C7C7C"/>
            </a:solidFill>
            <a:prstDash val="solid"/>
            <a:miter lim="800000"/>
          </a:ln>
          <a:effectLst/>
        </p:spPr>
      </p:cxnSp>
      <p:cxnSp>
        <p:nvCxnSpPr>
          <p:cNvPr id="81" name="Conector recto 80">
            <a:extLst>
              <a:ext uri="{FF2B5EF4-FFF2-40B4-BE49-F238E27FC236}">
                <a16:creationId xmlns="" xmlns:a16="http://schemas.microsoft.com/office/drawing/2014/main" id="{FF6F68C1-A56E-7B48-8DAA-5880CA502049}"/>
              </a:ext>
            </a:extLst>
          </p:cNvPr>
          <p:cNvCxnSpPr>
            <a:cxnSpLocks/>
          </p:cNvCxnSpPr>
          <p:nvPr/>
        </p:nvCxnSpPr>
        <p:spPr>
          <a:xfrm flipV="1">
            <a:off x="7940173" y="2705738"/>
            <a:ext cx="714764" cy="592458"/>
          </a:xfrm>
          <a:prstGeom prst="line">
            <a:avLst/>
          </a:prstGeom>
          <a:noFill/>
          <a:ln w="101600" cap="flat" cmpd="sng" algn="ctr">
            <a:solidFill>
              <a:srgbClr val="7C7C7C"/>
            </a:solidFill>
            <a:prstDash val="solid"/>
            <a:miter lim="800000"/>
          </a:ln>
          <a:effectLst/>
        </p:spPr>
      </p:cxnSp>
      <p:cxnSp>
        <p:nvCxnSpPr>
          <p:cNvPr id="82" name="Conector recto 81">
            <a:extLst>
              <a:ext uri="{FF2B5EF4-FFF2-40B4-BE49-F238E27FC236}">
                <a16:creationId xmlns="" xmlns:a16="http://schemas.microsoft.com/office/drawing/2014/main" id="{483B66B3-BAB4-DA4A-AA72-3F5602939B74}"/>
              </a:ext>
            </a:extLst>
          </p:cNvPr>
          <p:cNvCxnSpPr>
            <a:cxnSpLocks/>
          </p:cNvCxnSpPr>
          <p:nvPr/>
        </p:nvCxnSpPr>
        <p:spPr>
          <a:xfrm flipH="1" flipV="1">
            <a:off x="6194367" y="2692102"/>
            <a:ext cx="969431" cy="606820"/>
          </a:xfrm>
          <a:prstGeom prst="line">
            <a:avLst/>
          </a:prstGeom>
          <a:noFill/>
          <a:ln w="101600" cap="flat" cmpd="sng" algn="ctr">
            <a:solidFill>
              <a:srgbClr val="7C7C7C"/>
            </a:solidFill>
            <a:prstDash val="solid"/>
            <a:miter lim="800000"/>
          </a:ln>
          <a:effectLst/>
        </p:spPr>
      </p:cxnSp>
      <p:cxnSp>
        <p:nvCxnSpPr>
          <p:cNvPr id="83" name="Conector recto 82">
            <a:extLst>
              <a:ext uri="{FF2B5EF4-FFF2-40B4-BE49-F238E27FC236}">
                <a16:creationId xmlns="" xmlns:a16="http://schemas.microsoft.com/office/drawing/2014/main" id="{483B66B3-BAB4-DA4A-AA72-3F5602939B74}"/>
              </a:ext>
            </a:extLst>
          </p:cNvPr>
          <p:cNvCxnSpPr>
            <a:cxnSpLocks/>
          </p:cNvCxnSpPr>
          <p:nvPr/>
        </p:nvCxnSpPr>
        <p:spPr>
          <a:xfrm flipH="1" flipV="1">
            <a:off x="2917719" y="2627495"/>
            <a:ext cx="942765" cy="623305"/>
          </a:xfrm>
          <a:prstGeom prst="line">
            <a:avLst/>
          </a:prstGeom>
          <a:noFill/>
          <a:ln w="101600" cap="flat" cmpd="sng" algn="ctr">
            <a:solidFill>
              <a:srgbClr val="7C7C7C"/>
            </a:solidFill>
            <a:prstDash val="solid"/>
            <a:miter lim="800000"/>
          </a:ln>
          <a:effectLst/>
        </p:spPr>
      </p:cxnSp>
      <p:cxnSp>
        <p:nvCxnSpPr>
          <p:cNvPr id="84" name="Conector recto 83">
            <a:extLst>
              <a:ext uri="{FF2B5EF4-FFF2-40B4-BE49-F238E27FC236}">
                <a16:creationId xmlns="" xmlns:a16="http://schemas.microsoft.com/office/drawing/2014/main" id="{FF6F68C1-A56E-7B48-8DAA-5880CA502049}"/>
              </a:ext>
            </a:extLst>
          </p:cNvPr>
          <p:cNvCxnSpPr>
            <a:cxnSpLocks/>
          </p:cNvCxnSpPr>
          <p:nvPr/>
        </p:nvCxnSpPr>
        <p:spPr>
          <a:xfrm flipV="1">
            <a:off x="11120853" y="3076980"/>
            <a:ext cx="595552" cy="278184"/>
          </a:xfrm>
          <a:prstGeom prst="line">
            <a:avLst/>
          </a:prstGeom>
          <a:noFill/>
          <a:ln w="101600" cap="flat" cmpd="sng" algn="ctr">
            <a:solidFill>
              <a:srgbClr val="7C7C7C"/>
            </a:solidFill>
            <a:prstDash val="solid"/>
            <a:miter lim="800000"/>
          </a:ln>
          <a:effectLst/>
        </p:spPr>
      </p:cxnSp>
      <p:cxnSp>
        <p:nvCxnSpPr>
          <p:cNvPr id="85" name="Conector recto 84">
            <a:extLst>
              <a:ext uri="{FF2B5EF4-FFF2-40B4-BE49-F238E27FC236}">
                <a16:creationId xmlns="" xmlns:a16="http://schemas.microsoft.com/office/drawing/2014/main" id="{FF6F68C1-A56E-7B48-8DAA-5880CA502049}"/>
              </a:ext>
            </a:extLst>
          </p:cNvPr>
          <p:cNvCxnSpPr>
            <a:cxnSpLocks/>
          </p:cNvCxnSpPr>
          <p:nvPr/>
        </p:nvCxnSpPr>
        <p:spPr>
          <a:xfrm flipV="1">
            <a:off x="4567913" y="2681143"/>
            <a:ext cx="926920" cy="526070"/>
          </a:xfrm>
          <a:prstGeom prst="line">
            <a:avLst/>
          </a:prstGeom>
          <a:noFill/>
          <a:ln w="101600" cap="flat" cmpd="sng" algn="ctr">
            <a:solidFill>
              <a:srgbClr val="7C7C7C"/>
            </a:solidFill>
            <a:prstDash val="solid"/>
            <a:miter lim="800000"/>
          </a:ln>
          <a:effectLst/>
        </p:spPr>
      </p:cxnSp>
      <p:cxnSp>
        <p:nvCxnSpPr>
          <p:cNvPr id="86" name="Conector recto 85">
            <a:extLst>
              <a:ext uri="{FF2B5EF4-FFF2-40B4-BE49-F238E27FC236}">
                <a16:creationId xmlns="" xmlns:a16="http://schemas.microsoft.com/office/drawing/2014/main" id="{D189550E-3A7C-0C45-8A60-7C5D6E6A0D0F}"/>
              </a:ext>
            </a:extLst>
          </p:cNvPr>
          <p:cNvCxnSpPr>
            <a:cxnSpLocks/>
            <a:stCxn id="103" idx="7"/>
          </p:cNvCxnSpPr>
          <p:nvPr/>
        </p:nvCxnSpPr>
        <p:spPr>
          <a:xfrm flipV="1">
            <a:off x="1489359" y="2582968"/>
            <a:ext cx="770215" cy="584732"/>
          </a:xfrm>
          <a:prstGeom prst="line">
            <a:avLst/>
          </a:prstGeom>
          <a:noFill/>
          <a:ln w="101600" cap="flat" cmpd="sng" algn="ctr">
            <a:solidFill>
              <a:srgbClr val="7C7C7C"/>
            </a:solidFill>
            <a:prstDash val="solid"/>
            <a:miter lim="800000"/>
          </a:ln>
          <a:effectLst/>
        </p:spPr>
      </p:cxnSp>
      <p:sp>
        <p:nvSpPr>
          <p:cNvPr id="87" name="Elipse 86">
            <a:extLst>
              <a:ext uri="{FF2B5EF4-FFF2-40B4-BE49-F238E27FC236}">
                <a16:creationId xmlns="" xmlns:a16="http://schemas.microsoft.com/office/drawing/2014/main" id="{0CF979EE-E62A-934E-8B39-00F9824B2AF0}"/>
              </a:ext>
            </a:extLst>
          </p:cNvPr>
          <p:cNvSpPr/>
          <p:nvPr/>
        </p:nvSpPr>
        <p:spPr>
          <a:xfrm>
            <a:off x="11522927" y="2921116"/>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88" name="Grupo 87"/>
          <p:cNvGrpSpPr/>
          <p:nvPr/>
        </p:nvGrpSpPr>
        <p:grpSpPr>
          <a:xfrm>
            <a:off x="1859041" y="1029583"/>
            <a:ext cx="1573082" cy="2931256"/>
            <a:chOff x="1772322" y="2013004"/>
            <a:chExt cx="1573082" cy="2931256"/>
          </a:xfrm>
        </p:grpSpPr>
        <p:sp>
          <p:nvSpPr>
            <p:cNvPr id="89" name="CuadroTexto 88">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90" name="CuadroTexto 89">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91" name="CuadroTexto 90">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92" name="CuadroTexto 91">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93" name="CuadroTexto 92">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94" name="Grupo 93"/>
            <p:cNvGrpSpPr/>
            <p:nvPr/>
          </p:nvGrpSpPr>
          <p:grpSpPr>
            <a:xfrm>
              <a:off x="2051407" y="2962811"/>
              <a:ext cx="900000" cy="900000"/>
              <a:chOff x="7575268" y="3185273"/>
              <a:chExt cx="900000" cy="900000"/>
            </a:xfrm>
          </p:grpSpPr>
          <p:sp>
            <p:nvSpPr>
              <p:cNvPr id="95" name="Elipse 94">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96" name="Imagen 95">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97" name="Grupo 96"/>
          <p:cNvGrpSpPr/>
          <p:nvPr/>
        </p:nvGrpSpPr>
        <p:grpSpPr>
          <a:xfrm>
            <a:off x="454850" y="1941216"/>
            <a:ext cx="1432562" cy="3203743"/>
            <a:chOff x="368068" y="2305861"/>
            <a:chExt cx="1432562" cy="3203743"/>
          </a:xfrm>
        </p:grpSpPr>
        <p:sp>
          <p:nvSpPr>
            <p:cNvPr id="98" name="CuadroTexto 97">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99" name="CuadroTexto 98">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00" name="CuadroTexto 99">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1" name="CuadroTexto 100">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02" name="Grupo 101"/>
            <p:cNvGrpSpPr/>
            <p:nvPr/>
          </p:nvGrpSpPr>
          <p:grpSpPr>
            <a:xfrm>
              <a:off x="634379" y="3400543"/>
              <a:ext cx="900000" cy="900000"/>
              <a:chOff x="441138" y="3185293"/>
              <a:chExt cx="900000" cy="900000"/>
            </a:xfrm>
          </p:grpSpPr>
          <p:sp>
            <p:nvSpPr>
              <p:cNvPr id="103" name="Elipse 102">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04" name="Imagen 103"/>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05" name="Grupo 104"/>
          <p:cNvGrpSpPr/>
          <p:nvPr/>
        </p:nvGrpSpPr>
        <p:grpSpPr>
          <a:xfrm>
            <a:off x="3434994" y="1952879"/>
            <a:ext cx="1644582" cy="2761377"/>
            <a:chOff x="3348212" y="2317524"/>
            <a:chExt cx="1644582" cy="2761377"/>
          </a:xfrm>
        </p:grpSpPr>
        <p:grpSp>
          <p:nvGrpSpPr>
            <p:cNvPr id="106" name="Grupo 105"/>
            <p:cNvGrpSpPr/>
            <p:nvPr/>
          </p:nvGrpSpPr>
          <p:grpSpPr>
            <a:xfrm>
              <a:off x="3676901" y="3305290"/>
              <a:ext cx="900000" cy="900000"/>
              <a:chOff x="9244508" y="2447443"/>
              <a:chExt cx="900000" cy="900000"/>
            </a:xfrm>
          </p:grpSpPr>
          <p:sp>
            <p:nvSpPr>
              <p:cNvPr id="112" name="Elipse 111">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13" name="Imagen 11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07" name="CuadroTexto 106">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08" name="CuadroTexto 107">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09" name="CuadroTexto 108">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10" name="CuadroTexto 109">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11" name="CuadroTexto 110">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14" name="Grupo 113"/>
          <p:cNvGrpSpPr/>
          <p:nvPr/>
        </p:nvGrpSpPr>
        <p:grpSpPr>
          <a:xfrm>
            <a:off x="6929081" y="1984233"/>
            <a:ext cx="1354365" cy="3100450"/>
            <a:chOff x="5099666" y="1936142"/>
            <a:chExt cx="1354365" cy="3100450"/>
          </a:xfrm>
        </p:grpSpPr>
        <p:sp>
          <p:nvSpPr>
            <p:cNvPr id="115" name="CuadroTexto 114">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16" name="CuadroTexto 115">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17" name="Grupo 116"/>
            <p:cNvGrpSpPr/>
            <p:nvPr/>
          </p:nvGrpSpPr>
          <p:grpSpPr>
            <a:xfrm>
              <a:off x="5281926" y="2985880"/>
              <a:ext cx="900000" cy="900000"/>
              <a:chOff x="5766724" y="2453514"/>
              <a:chExt cx="900000" cy="900000"/>
            </a:xfrm>
          </p:grpSpPr>
          <p:sp>
            <p:nvSpPr>
              <p:cNvPr id="120" name="Elipse 119">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1" name="Imagen 120">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18" name="Rectángulo 117"/>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19" name="CuadroTexto 118">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22" name="Grupo 121"/>
          <p:cNvGrpSpPr/>
          <p:nvPr/>
        </p:nvGrpSpPr>
        <p:grpSpPr>
          <a:xfrm>
            <a:off x="5158724" y="989378"/>
            <a:ext cx="1432562" cy="2927874"/>
            <a:chOff x="1778717" y="1693220"/>
            <a:chExt cx="1432562" cy="2927874"/>
          </a:xfrm>
        </p:grpSpPr>
        <p:sp>
          <p:nvSpPr>
            <p:cNvPr id="123" name="CuadroTexto 122">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24" name="CuadroTexto 123">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25" name="CuadroTexto 124">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26" name="CuadroTexto 125">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27" name="Grupo 126"/>
            <p:cNvGrpSpPr/>
            <p:nvPr/>
          </p:nvGrpSpPr>
          <p:grpSpPr>
            <a:xfrm>
              <a:off x="2002029" y="2751041"/>
              <a:ext cx="900000" cy="900000"/>
              <a:chOff x="2142656" y="2447443"/>
              <a:chExt cx="900000" cy="900000"/>
            </a:xfrm>
          </p:grpSpPr>
          <p:sp>
            <p:nvSpPr>
              <p:cNvPr id="128" name="Elipse 127">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29" name="Imagen 128">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30" name="Grupo 129"/>
          <p:cNvGrpSpPr/>
          <p:nvPr/>
        </p:nvGrpSpPr>
        <p:grpSpPr>
          <a:xfrm>
            <a:off x="9999228" y="2041429"/>
            <a:ext cx="1573082" cy="3356570"/>
            <a:chOff x="9912446" y="2406074"/>
            <a:chExt cx="1573082" cy="3356570"/>
          </a:xfrm>
        </p:grpSpPr>
        <p:sp>
          <p:nvSpPr>
            <p:cNvPr id="131" name="Elipse 130">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32" name="Imagen 131">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33" name="CuadroTexto 132">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34" name="CuadroTexto 133">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35" name="CuadroTexto 134">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36" name="CuadroTexto 135">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37" name="CuadroTexto 136">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38" name="Grupo 137"/>
          <p:cNvGrpSpPr/>
          <p:nvPr/>
        </p:nvGrpSpPr>
        <p:grpSpPr>
          <a:xfrm>
            <a:off x="8466045" y="1029583"/>
            <a:ext cx="1225304" cy="3237897"/>
            <a:chOff x="6705181" y="2145622"/>
            <a:chExt cx="1225304" cy="3237897"/>
          </a:xfrm>
        </p:grpSpPr>
        <p:sp>
          <p:nvSpPr>
            <p:cNvPr id="139" name="CuadroTexto 138">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40" name="CuadroTexto 139">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141" name="Grupo 140"/>
            <p:cNvGrpSpPr/>
            <p:nvPr/>
          </p:nvGrpSpPr>
          <p:grpSpPr>
            <a:xfrm>
              <a:off x="6826392" y="3164189"/>
              <a:ext cx="900000" cy="900000"/>
              <a:chOff x="3883879" y="3181059"/>
              <a:chExt cx="900000" cy="900000"/>
            </a:xfrm>
          </p:grpSpPr>
          <p:sp>
            <p:nvSpPr>
              <p:cNvPr id="144" name="Elipse 143">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45" name="Imagen 144">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142" name="CuadroTexto 141">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143" name="CuadroTexto 142">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Se crea un Comité de Ministros para la SST, para asesorar de forma permanente al Presidente de la República en la formulación de lineamientos y Políticas de SST. </a:t>
            </a:r>
          </a:p>
        </p:txBody>
      </p:sp>
    </p:spTree>
    <p:custDataLst>
      <p:tags r:id="rId2"/>
    </p:custDataLst>
    <p:extLst>
      <p:ext uri="{BB962C8B-B14F-4D97-AF65-F5344CB8AC3E}">
        <p14:creationId xmlns:p14="http://schemas.microsoft.com/office/powerpoint/2010/main" val="301946641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 xmlns:a16="http://schemas.microsoft.com/office/drawing/2014/main" id="{7916D848-0D74-682B-2059-D4867C0BDE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ítulo 30">
            <a:extLst>
              <a:ext uri="{FF2B5EF4-FFF2-40B4-BE49-F238E27FC236}">
                <a16:creationId xmlns=""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Contexto normativo</a:t>
            </a:r>
          </a:p>
        </p:txBody>
      </p:sp>
      <p:pic>
        <p:nvPicPr>
          <p:cNvPr id="3" name="Picture 40">
            <a:extLst>
              <a:ext uri="{FF2B5EF4-FFF2-40B4-BE49-F238E27FC236}">
                <a16:creationId xmlns=""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2" name="Rectángulo 1"/>
          <p:cNvSpPr/>
          <p:nvPr/>
        </p:nvSpPr>
        <p:spPr>
          <a:xfrm>
            <a:off x="563589" y="5696360"/>
            <a:ext cx="11261555" cy="946298"/>
          </a:xfrm>
          <a:prstGeom prst="rect">
            <a:avLst/>
          </a:prstGeom>
          <a:solidFill>
            <a:srgbClr val="014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ES" sz="1600" dirty="0">
                <a:solidFill>
                  <a:schemeClr val="bg1"/>
                </a:solidFill>
                <a:latin typeface="ACHS Nueva Sans" pitchFamily="2" charset="0"/>
              </a:rPr>
              <a:t>Dentro de sus principios se encuentra el respeto, promoción y aseguramiento del derecho de toda persona a un mundo del trabajo libre de violencia y acoso. Adoptando, un enfoque inclusivo, integrado y que tenga en cuenta las consideraciones de género para prevenir y eliminar la violencia y el acoso en el mundo del trabajo.</a:t>
            </a:r>
          </a:p>
        </p:txBody>
      </p:sp>
      <p:sp>
        <p:nvSpPr>
          <p:cNvPr id="73" name="Rectángulo redondeado 72"/>
          <p:cNvSpPr/>
          <p:nvPr/>
        </p:nvSpPr>
        <p:spPr>
          <a:xfrm>
            <a:off x="5131587" y="914636"/>
            <a:ext cx="1496139" cy="3778960"/>
          </a:xfrm>
          <a:prstGeom prst="roundRect">
            <a:avLst/>
          </a:prstGeom>
          <a:solidFill>
            <a:srgbClr val="EAEADE"/>
          </a:solidFill>
          <a:ln w="12700" cap="flat" cmpd="sng" algn="ctr">
            <a:solidFill>
              <a:srgbClr val="13C045"/>
            </a:solid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L" sz="1400" b="0" i="0" u="none" strike="noStrike" kern="0" cap="none" spc="0" normalizeH="0" baseline="0" noProof="0" dirty="0">
              <a:ln>
                <a:noFill/>
              </a:ln>
              <a:solidFill>
                <a:prstClr val="white"/>
              </a:solidFill>
              <a:effectLst/>
              <a:uLnTx/>
              <a:uFillTx/>
              <a:latin typeface="ACHS Nueva Sans" pitchFamily="2" charset="0"/>
            </a:endParaRPr>
          </a:p>
        </p:txBody>
      </p:sp>
      <p:cxnSp>
        <p:nvCxnSpPr>
          <p:cNvPr id="74" name="Conector recto 73">
            <a:extLst>
              <a:ext uri="{FF2B5EF4-FFF2-40B4-BE49-F238E27FC236}">
                <a16:creationId xmlns="" xmlns:a16="http://schemas.microsoft.com/office/drawing/2014/main" id="{483B66B3-BAB4-DA4A-AA72-3F5602939B74}"/>
              </a:ext>
            </a:extLst>
          </p:cNvPr>
          <p:cNvCxnSpPr>
            <a:cxnSpLocks/>
          </p:cNvCxnSpPr>
          <p:nvPr/>
        </p:nvCxnSpPr>
        <p:spPr>
          <a:xfrm flipH="1" flipV="1">
            <a:off x="9359616" y="2731450"/>
            <a:ext cx="943256" cy="567901"/>
          </a:xfrm>
          <a:prstGeom prst="line">
            <a:avLst/>
          </a:prstGeom>
          <a:noFill/>
          <a:ln w="101600" cap="flat" cmpd="sng" algn="ctr">
            <a:solidFill>
              <a:srgbClr val="7C7C7C"/>
            </a:solidFill>
            <a:prstDash val="solid"/>
            <a:miter lim="800000"/>
          </a:ln>
          <a:effectLst/>
        </p:spPr>
      </p:cxnSp>
      <p:cxnSp>
        <p:nvCxnSpPr>
          <p:cNvPr id="75" name="Conector recto 74">
            <a:extLst>
              <a:ext uri="{FF2B5EF4-FFF2-40B4-BE49-F238E27FC236}">
                <a16:creationId xmlns="" xmlns:a16="http://schemas.microsoft.com/office/drawing/2014/main" id="{FF6F68C1-A56E-7B48-8DAA-5880CA502049}"/>
              </a:ext>
            </a:extLst>
          </p:cNvPr>
          <p:cNvCxnSpPr>
            <a:cxnSpLocks/>
          </p:cNvCxnSpPr>
          <p:nvPr/>
        </p:nvCxnSpPr>
        <p:spPr>
          <a:xfrm flipV="1">
            <a:off x="7915002" y="2706893"/>
            <a:ext cx="714764" cy="592458"/>
          </a:xfrm>
          <a:prstGeom prst="line">
            <a:avLst/>
          </a:prstGeom>
          <a:noFill/>
          <a:ln w="101600" cap="flat" cmpd="sng" algn="ctr">
            <a:solidFill>
              <a:srgbClr val="7C7C7C"/>
            </a:solidFill>
            <a:prstDash val="solid"/>
            <a:miter lim="800000"/>
          </a:ln>
          <a:effectLst/>
        </p:spPr>
      </p:cxnSp>
      <p:cxnSp>
        <p:nvCxnSpPr>
          <p:cNvPr id="76" name="Conector recto 75">
            <a:extLst>
              <a:ext uri="{FF2B5EF4-FFF2-40B4-BE49-F238E27FC236}">
                <a16:creationId xmlns="" xmlns:a16="http://schemas.microsoft.com/office/drawing/2014/main" id="{483B66B3-BAB4-DA4A-AA72-3F5602939B74}"/>
              </a:ext>
            </a:extLst>
          </p:cNvPr>
          <p:cNvCxnSpPr>
            <a:cxnSpLocks/>
          </p:cNvCxnSpPr>
          <p:nvPr/>
        </p:nvCxnSpPr>
        <p:spPr>
          <a:xfrm flipH="1" flipV="1">
            <a:off x="6169196" y="2693257"/>
            <a:ext cx="969431" cy="606820"/>
          </a:xfrm>
          <a:prstGeom prst="line">
            <a:avLst/>
          </a:prstGeom>
          <a:noFill/>
          <a:ln w="101600" cap="flat" cmpd="sng" algn="ctr">
            <a:solidFill>
              <a:srgbClr val="7C7C7C"/>
            </a:solidFill>
            <a:prstDash val="solid"/>
            <a:miter lim="800000"/>
          </a:ln>
          <a:effectLst/>
        </p:spPr>
      </p:cxnSp>
      <p:cxnSp>
        <p:nvCxnSpPr>
          <p:cNvPr id="77" name="Conector recto 76">
            <a:extLst>
              <a:ext uri="{FF2B5EF4-FFF2-40B4-BE49-F238E27FC236}">
                <a16:creationId xmlns="" xmlns:a16="http://schemas.microsoft.com/office/drawing/2014/main" id="{483B66B3-BAB4-DA4A-AA72-3F5602939B74}"/>
              </a:ext>
            </a:extLst>
          </p:cNvPr>
          <p:cNvCxnSpPr>
            <a:cxnSpLocks/>
          </p:cNvCxnSpPr>
          <p:nvPr/>
        </p:nvCxnSpPr>
        <p:spPr>
          <a:xfrm flipH="1" flipV="1">
            <a:off x="2892548" y="2628650"/>
            <a:ext cx="942765" cy="623305"/>
          </a:xfrm>
          <a:prstGeom prst="line">
            <a:avLst/>
          </a:prstGeom>
          <a:noFill/>
          <a:ln w="101600" cap="flat" cmpd="sng" algn="ctr">
            <a:solidFill>
              <a:srgbClr val="7C7C7C"/>
            </a:solidFill>
            <a:prstDash val="solid"/>
            <a:miter lim="800000"/>
          </a:ln>
          <a:effectLst/>
        </p:spPr>
      </p:cxnSp>
      <p:cxnSp>
        <p:nvCxnSpPr>
          <p:cNvPr id="78" name="Conector recto 77">
            <a:extLst>
              <a:ext uri="{FF2B5EF4-FFF2-40B4-BE49-F238E27FC236}">
                <a16:creationId xmlns="" xmlns:a16="http://schemas.microsoft.com/office/drawing/2014/main" id="{FF6F68C1-A56E-7B48-8DAA-5880CA502049}"/>
              </a:ext>
            </a:extLst>
          </p:cNvPr>
          <p:cNvCxnSpPr>
            <a:cxnSpLocks/>
          </p:cNvCxnSpPr>
          <p:nvPr/>
        </p:nvCxnSpPr>
        <p:spPr>
          <a:xfrm flipV="1">
            <a:off x="11095682" y="3078135"/>
            <a:ext cx="595552" cy="278184"/>
          </a:xfrm>
          <a:prstGeom prst="line">
            <a:avLst/>
          </a:prstGeom>
          <a:noFill/>
          <a:ln w="101600" cap="flat" cmpd="sng" algn="ctr">
            <a:solidFill>
              <a:srgbClr val="7C7C7C"/>
            </a:solidFill>
            <a:prstDash val="solid"/>
            <a:miter lim="800000"/>
          </a:ln>
          <a:effectLst/>
        </p:spPr>
      </p:cxnSp>
      <p:cxnSp>
        <p:nvCxnSpPr>
          <p:cNvPr id="146" name="Conector recto 145">
            <a:extLst>
              <a:ext uri="{FF2B5EF4-FFF2-40B4-BE49-F238E27FC236}">
                <a16:creationId xmlns="" xmlns:a16="http://schemas.microsoft.com/office/drawing/2014/main" id="{FF6F68C1-A56E-7B48-8DAA-5880CA502049}"/>
              </a:ext>
            </a:extLst>
          </p:cNvPr>
          <p:cNvCxnSpPr>
            <a:cxnSpLocks/>
          </p:cNvCxnSpPr>
          <p:nvPr/>
        </p:nvCxnSpPr>
        <p:spPr>
          <a:xfrm flipV="1">
            <a:off x="4542742" y="2682298"/>
            <a:ext cx="926920" cy="526070"/>
          </a:xfrm>
          <a:prstGeom prst="line">
            <a:avLst/>
          </a:prstGeom>
          <a:noFill/>
          <a:ln w="101600" cap="flat" cmpd="sng" algn="ctr">
            <a:solidFill>
              <a:srgbClr val="7C7C7C"/>
            </a:solidFill>
            <a:prstDash val="solid"/>
            <a:miter lim="800000"/>
          </a:ln>
          <a:effectLst/>
        </p:spPr>
      </p:cxnSp>
      <p:cxnSp>
        <p:nvCxnSpPr>
          <p:cNvPr id="147" name="Conector recto 146">
            <a:extLst>
              <a:ext uri="{FF2B5EF4-FFF2-40B4-BE49-F238E27FC236}">
                <a16:creationId xmlns="" xmlns:a16="http://schemas.microsoft.com/office/drawing/2014/main" id="{D189550E-3A7C-0C45-8A60-7C5D6E6A0D0F}"/>
              </a:ext>
            </a:extLst>
          </p:cNvPr>
          <p:cNvCxnSpPr>
            <a:cxnSpLocks/>
            <a:stCxn id="164" idx="7"/>
          </p:cNvCxnSpPr>
          <p:nvPr/>
        </p:nvCxnSpPr>
        <p:spPr>
          <a:xfrm flipV="1">
            <a:off x="1464188" y="2584123"/>
            <a:ext cx="770215" cy="584732"/>
          </a:xfrm>
          <a:prstGeom prst="line">
            <a:avLst/>
          </a:prstGeom>
          <a:noFill/>
          <a:ln w="101600" cap="flat" cmpd="sng" algn="ctr">
            <a:solidFill>
              <a:srgbClr val="7C7C7C"/>
            </a:solidFill>
            <a:prstDash val="solid"/>
            <a:miter lim="800000"/>
          </a:ln>
          <a:effectLst/>
        </p:spPr>
      </p:cxnSp>
      <p:sp>
        <p:nvSpPr>
          <p:cNvPr id="148" name="Elipse 147">
            <a:extLst>
              <a:ext uri="{FF2B5EF4-FFF2-40B4-BE49-F238E27FC236}">
                <a16:creationId xmlns="" xmlns:a16="http://schemas.microsoft.com/office/drawing/2014/main" id="{0CF979EE-E62A-934E-8B39-00F9824B2AF0}"/>
              </a:ext>
            </a:extLst>
          </p:cNvPr>
          <p:cNvSpPr/>
          <p:nvPr/>
        </p:nvSpPr>
        <p:spPr>
          <a:xfrm>
            <a:off x="11497756" y="2922271"/>
            <a:ext cx="328719" cy="336364"/>
          </a:xfrm>
          <a:prstGeom prst="ellipse">
            <a:avLst/>
          </a:prstGeom>
          <a:solidFill>
            <a:srgbClr val="00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791" b="0" i="0" u="none" strike="noStrike" kern="0" cap="none" spc="0" normalizeH="0" baseline="0" noProof="0" dirty="0">
              <a:ln>
                <a:noFill/>
              </a:ln>
              <a:solidFill>
                <a:prstClr val="white"/>
              </a:solidFill>
              <a:effectLst/>
              <a:uLnTx/>
              <a:uFillTx/>
              <a:latin typeface="ACHS Nueva Sans" pitchFamily="2" charset="0"/>
            </a:endParaRPr>
          </a:p>
        </p:txBody>
      </p:sp>
      <p:grpSp>
        <p:nvGrpSpPr>
          <p:cNvPr id="149" name="Grupo 148"/>
          <p:cNvGrpSpPr/>
          <p:nvPr/>
        </p:nvGrpSpPr>
        <p:grpSpPr>
          <a:xfrm>
            <a:off x="1833870" y="1030738"/>
            <a:ext cx="1573082" cy="2931256"/>
            <a:chOff x="1772322" y="2013004"/>
            <a:chExt cx="1573082" cy="2931256"/>
          </a:xfrm>
        </p:grpSpPr>
        <p:sp>
          <p:nvSpPr>
            <p:cNvPr id="150" name="CuadroTexto 149">
              <a:extLst>
                <a:ext uri="{FF2B5EF4-FFF2-40B4-BE49-F238E27FC236}">
                  <a16:creationId xmlns="" xmlns:a16="http://schemas.microsoft.com/office/drawing/2014/main" id="{ECFE2F91-0750-6F4D-9F83-F1E1F259C426}"/>
                </a:ext>
              </a:extLst>
            </p:cNvPr>
            <p:cNvSpPr txBox="1"/>
            <p:nvPr/>
          </p:nvSpPr>
          <p:spPr>
            <a:xfrm>
              <a:off x="1864270" y="4451817"/>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Crea y regula el funcionamiento de un consejo consultivo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endParaRPr>
            </a:p>
          </p:txBody>
        </p:sp>
        <p:sp>
          <p:nvSpPr>
            <p:cNvPr id="151" name="CuadroTexto 150">
              <a:extLst>
                <a:ext uri="{FF2B5EF4-FFF2-40B4-BE49-F238E27FC236}">
                  <a16:creationId xmlns="" xmlns:a16="http://schemas.microsoft.com/office/drawing/2014/main" id="{5E5789DE-E725-C44B-9B72-178A331C4F71}"/>
                </a:ext>
              </a:extLst>
            </p:cNvPr>
            <p:cNvSpPr txBox="1"/>
            <p:nvPr/>
          </p:nvSpPr>
          <p:spPr>
            <a:xfrm>
              <a:off x="1959884" y="201300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52" name="CuadroTexto 151">
              <a:extLst>
                <a:ext uri="{FF2B5EF4-FFF2-40B4-BE49-F238E27FC236}">
                  <a16:creationId xmlns="" xmlns:a16="http://schemas.microsoft.com/office/drawing/2014/main" id="{B6918642-E9B6-504B-ABD8-6B32FA094E9A}"/>
                </a:ext>
              </a:extLst>
            </p:cNvPr>
            <p:cNvSpPr txBox="1"/>
            <p:nvPr/>
          </p:nvSpPr>
          <p:spPr>
            <a:xfrm>
              <a:off x="1825666" y="3987376"/>
              <a:ext cx="1403949"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53" name="CuadroTexto 152">
              <a:extLst>
                <a:ext uri="{FF2B5EF4-FFF2-40B4-BE49-F238E27FC236}">
                  <a16:creationId xmlns="" xmlns:a16="http://schemas.microsoft.com/office/drawing/2014/main" id="{524EE735-2000-E04E-9879-BD1FFC79E2D9}"/>
                </a:ext>
              </a:extLst>
            </p:cNvPr>
            <p:cNvSpPr txBox="1"/>
            <p:nvPr/>
          </p:nvSpPr>
          <p:spPr>
            <a:xfrm>
              <a:off x="1772322" y="222741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19</a:t>
              </a:r>
            </a:p>
          </p:txBody>
        </p:sp>
        <p:sp>
          <p:nvSpPr>
            <p:cNvPr id="154" name="CuadroTexto 153">
              <a:extLst>
                <a:ext uri="{FF2B5EF4-FFF2-40B4-BE49-F238E27FC236}">
                  <a16:creationId xmlns="" xmlns:a16="http://schemas.microsoft.com/office/drawing/2014/main" id="{39B5CE73-37A5-8840-9122-D2A0F039E712}"/>
                </a:ext>
              </a:extLst>
            </p:cNvPr>
            <p:cNvSpPr txBox="1"/>
            <p:nvPr/>
          </p:nvSpPr>
          <p:spPr>
            <a:xfrm>
              <a:off x="1788215" y="254056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nvGrpSpPr>
            <p:cNvPr id="155" name="Grupo 154"/>
            <p:cNvGrpSpPr/>
            <p:nvPr/>
          </p:nvGrpSpPr>
          <p:grpSpPr>
            <a:xfrm>
              <a:off x="2051407" y="2962811"/>
              <a:ext cx="900000" cy="900000"/>
              <a:chOff x="7575268" y="3185273"/>
              <a:chExt cx="900000" cy="900000"/>
            </a:xfrm>
          </p:grpSpPr>
          <p:sp>
            <p:nvSpPr>
              <p:cNvPr id="156" name="Elipse 155">
                <a:extLst>
                  <a:ext uri="{FF2B5EF4-FFF2-40B4-BE49-F238E27FC236}">
                    <a16:creationId xmlns="" xmlns:a16="http://schemas.microsoft.com/office/drawing/2014/main" id="{2620182C-5EF3-844A-9692-11177A93B677}"/>
                  </a:ext>
                </a:extLst>
              </p:cNvPr>
              <p:cNvSpPr/>
              <p:nvPr/>
            </p:nvSpPr>
            <p:spPr>
              <a:xfrm>
                <a:off x="7575268" y="3185273"/>
                <a:ext cx="900000" cy="900000"/>
              </a:xfrm>
              <a:prstGeom prst="ellipse">
                <a:avLst/>
              </a:prstGeom>
              <a:solidFill>
                <a:srgbClr val="83B827"/>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57" name="Imagen 156">
                <a:extLst>
                  <a:ext uri="{FF2B5EF4-FFF2-40B4-BE49-F238E27FC236}">
                    <a16:creationId xmlns="" xmlns:a16="http://schemas.microsoft.com/office/drawing/2014/main" id="{811825E4-2F49-674F-8928-B41BB102F41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8807" y="3349754"/>
                <a:ext cx="639965" cy="612000"/>
              </a:xfrm>
              <a:prstGeom prst="rect">
                <a:avLst/>
              </a:prstGeom>
            </p:spPr>
          </p:pic>
        </p:grpSp>
      </p:grpSp>
      <p:grpSp>
        <p:nvGrpSpPr>
          <p:cNvPr id="158" name="Grupo 157"/>
          <p:cNvGrpSpPr/>
          <p:nvPr/>
        </p:nvGrpSpPr>
        <p:grpSpPr>
          <a:xfrm>
            <a:off x="429679" y="1942371"/>
            <a:ext cx="1432562" cy="3203743"/>
            <a:chOff x="368068" y="2305861"/>
            <a:chExt cx="1432562" cy="3203743"/>
          </a:xfrm>
        </p:grpSpPr>
        <p:sp>
          <p:nvSpPr>
            <p:cNvPr id="159" name="CuadroTexto 158">
              <a:extLst>
                <a:ext uri="{FF2B5EF4-FFF2-40B4-BE49-F238E27FC236}">
                  <a16:creationId xmlns="" xmlns:a16="http://schemas.microsoft.com/office/drawing/2014/main" id="{4E83E0A1-E559-AB45-AE17-303CC84547C7}"/>
                </a:ext>
              </a:extLst>
            </p:cNvPr>
            <p:cNvSpPr txBox="1"/>
            <p:nvPr/>
          </p:nvSpPr>
          <p:spPr>
            <a:xfrm>
              <a:off x="503349" y="4804283"/>
              <a:ext cx="1162000" cy="705321"/>
            </a:xfrm>
            <a:prstGeom prst="rect">
              <a:avLst/>
            </a:prstGeom>
            <a:noFill/>
          </p:spPr>
          <p:txBody>
            <a:bodyPr wrap="square" lIns="0" tIns="0" rIns="0" bIns="0" rtlCol="0" anchor="t">
              <a:sp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Promulga el Convenio N° 187 sobre Marco Promocional para la Seguridad y Salud en el Trabaj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panose="020B0604020202020204" pitchFamily="34" charset="0"/>
              </a:endParaRPr>
            </a:p>
          </p:txBody>
        </p:sp>
        <p:sp>
          <p:nvSpPr>
            <p:cNvPr id="160" name="CuadroTexto 159">
              <a:extLst>
                <a:ext uri="{FF2B5EF4-FFF2-40B4-BE49-F238E27FC236}">
                  <a16:creationId xmlns="" xmlns:a16="http://schemas.microsoft.com/office/drawing/2014/main" id="{219CF047-F235-F94B-8964-CBE710C644E5}"/>
                </a:ext>
              </a:extLst>
            </p:cNvPr>
            <p:cNvSpPr txBox="1"/>
            <p:nvPr/>
          </p:nvSpPr>
          <p:spPr>
            <a:xfrm>
              <a:off x="550907" y="2305861"/>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72</a:t>
              </a:r>
            </a:p>
          </p:txBody>
        </p:sp>
        <p:sp>
          <p:nvSpPr>
            <p:cNvPr id="161" name="CuadroTexto 160">
              <a:extLst>
                <a:ext uri="{FF2B5EF4-FFF2-40B4-BE49-F238E27FC236}">
                  <a16:creationId xmlns="" xmlns:a16="http://schemas.microsoft.com/office/drawing/2014/main" id="{3D96AFFC-ECB9-8D4D-BFAB-91A0688AF15A}"/>
                </a:ext>
              </a:extLst>
            </p:cNvPr>
            <p:cNvSpPr txBox="1"/>
            <p:nvPr/>
          </p:nvSpPr>
          <p:spPr>
            <a:xfrm>
              <a:off x="368068" y="4398758"/>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05 MAY 20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62" name="CuadroTexto 161">
              <a:extLst>
                <a:ext uri="{FF2B5EF4-FFF2-40B4-BE49-F238E27FC236}">
                  <a16:creationId xmlns="" xmlns:a16="http://schemas.microsoft.com/office/drawing/2014/main" id="{833CD9B3-018F-704F-81AB-77E138C1F58D}"/>
                </a:ext>
              </a:extLst>
            </p:cNvPr>
            <p:cNvSpPr txBox="1"/>
            <p:nvPr/>
          </p:nvSpPr>
          <p:spPr>
            <a:xfrm>
              <a:off x="503349" y="2896803"/>
              <a:ext cx="115922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63" name="Grupo 162"/>
            <p:cNvGrpSpPr/>
            <p:nvPr/>
          </p:nvGrpSpPr>
          <p:grpSpPr>
            <a:xfrm>
              <a:off x="634379" y="3400543"/>
              <a:ext cx="900000" cy="900000"/>
              <a:chOff x="441138" y="3185293"/>
              <a:chExt cx="900000" cy="900000"/>
            </a:xfrm>
          </p:grpSpPr>
          <p:sp>
            <p:nvSpPr>
              <p:cNvPr id="164" name="Elipse 163">
                <a:extLst>
                  <a:ext uri="{FF2B5EF4-FFF2-40B4-BE49-F238E27FC236}">
                    <a16:creationId xmlns="" xmlns:a16="http://schemas.microsoft.com/office/drawing/2014/main" id="{4AEABFB9-EE8D-3D42-9B9E-57AA9C3610F3}"/>
                  </a:ext>
                </a:extLst>
              </p:cNvPr>
              <p:cNvSpPr/>
              <p:nvPr/>
            </p:nvSpPr>
            <p:spPr>
              <a:xfrm>
                <a:off x="441138" y="318529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65" name="Imagen 164"/>
              <p:cNvPicPr>
                <a:picLocks noChangeAspect="1"/>
              </p:cNvPicPr>
              <p:nvPr/>
            </p:nvPicPr>
            <p:blipFill rotWithShape="1">
              <a:blip r:embed="rId1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l="27929" r="25871"/>
              <a:stretch/>
            </p:blipFill>
            <p:spPr>
              <a:xfrm>
                <a:off x="587106" y="3325059"/>
                <a:ext cx="608005" cy="612000"/>
              </a:xfrm>
              <a:prstGeom prst="rect">
                <a:avLst/>
              </a:prstGeom>
            </p:spPr>
          </p:pic>
        </p:grpSp>
      </p:grpSp>
      <p:grpSp>
        <p:nvGrpSpPr>
          <p:cNvPr id="166" name="Grupo 165"/>
          <p:cNvGrpSpPr/>
          <p:nvPr/>
        </p:nvGrpSpPr>
        <p:grpSpPr>
          <a:xfrm>
            <a:off x="3409823" y="1954034"/>
            <a:ext cx="1644582" cy="2761377"/>
            <a:chOff x="3348212" y="2317524"/>
            <a:chExt cx="1644582" cy="2761377"/>
          </a:xfrm>
        </p:grpSpPr>
        <p:grpSp>
          <p:nvGrpSpPr>
            <p:cNvPr id="167" name="Grupo 166"/>
            <p:cNvGrpSpPr/>
            <p:nvPr/>
          </p:nvGrpSpPr>
          <p:grpSpPr>
            <a:xfrm>
              <a:off x="3676901" y="3305290"/>
              <a:ext cx="900000" cy="900000"/>
              <a:chOff x="9244508" y="2447443"/>
              <a:chExt cx="900000" cy="900000"/>
            </a:xfrm>
          </p:grpSpPr>
          <p:sp>
            <p:nvSpPr>
              <p:cNvPr id="173" name="Elipse 172">
                <a:extLst>
                  <a:ext uri="{FF2B5EF4-FFF2-40B4-BE49-F238E27FC236}">
                    <a16:creationId xmlns="" xmlns:a16="http://schemas.microsoft.com/office/drawing/2014/main" id="{ED9756F2-B45F-994E-A9F5-6C06DCD6AAD0}"/>
                  </a:ext>
                </a:extLst>
              </p:cNvPr>
              <p:cNvSpPr/>
              <p:nvPr/>
            </p:nvSpPr>
            <p:spPr>
              <a:xfrm>
                <a:off x="9244508" y="2447443"/>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74" name="Imagen 173">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10325" y="2569102"/>
                <a:ext cx="639965" cy="612000"/>
              </a:xfrm>
              <a:prstGeom prst="rect">
                <a:avLst/>
              </a:prstGeom>
            </p:spPr>
          </p:pic>
        </p:grpSp>
        <p:sp>
          <p:nvSpPr>
            <p:cNvPr id="168" name="CuadroTexto 167">
              <a:extLst>
                <a:ext uri="{FF2B5EF4-FFF2-40B4-BE49-F238E27FC236}">
                  <a16:creationId xmlns="" xmlns:a16="http://schemas.microsoft.com/office/drawing/2014/main" id="{ED69FF08-B077-D24F-8BEC-2BCE5AA9C143}"/>
                </a:ext>
              </a:extLst>
            </p:cNvPr>
            <p:cNvSpPr txBox="1"/>
            <p:nvPr/>
          </p:nvSpPr>
          <p:spPr>
            <a:xfrm>
              <a:off x="3511062" y="4796772"/>
              <a:ext cx="1225583" cy="282129"/>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Establece un comité de ministros para la SS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69" name="CuadroTexto 168">
              <a:extLst>
                <a:ext uri="{FF2B5EF4-FFF2-40B4-BE49-F238E27FC236}">
                  <a16:creationId xmlns="" xmlns:a16="http://schemas.microsoft.com/office/drawing/2014/main" id="{15C1C9DA-93AC-7A4F-A941-21B69ED42B31}"/>
                </a:ext>
              </a:extLst>
            </p:cNvPr>
            <p:cNvSpPr txBox="1"/>
            <p:nvPr/>
          </p:nvSpPr>
          <p:spPr>
            <a:xfrm>
              <a:off x="3348212" y="4332331"/>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1 JUL 201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70" name="CuadroTexto 169">
              <a:extLst>
                <a:ext uri="{FF2B5EF4-FFF2-40B4-BE49-F238E27FC236}">
                  <a16:creationId xmlns="" xmlns:a16="http://schemas.microsoft.com/office/drawing/2014/main" id="{5E5789DE-E725-C44B-9B72-178A331C4F71}"/>
                </a:ext>
              </a:extLst>
            </p:cNvPr>
            <p:cNvSpPr txBox="1"/>
            <p:nvPr/>
          </p:nvSpPr>
          <p:spPr>
            <a:xfrm>
              <a:off x="3607274" y="231752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71" name="CuadroTexto 170">
              <a:extLst>
                <a:ext uri="{FF2B5EF4-FFF2-40B4-BE49-F238E27FC236}">
                  <a16:creationId xmlns="" xmlns:a16="http://schemas.microsoft.com/office/drawing/2014/main" id="{524EE735-2000-E04E-9879-BD1FFC79E2D9}"/>
                </a:ext>
              </a:extLst>
            </p:cNvPr>
            <p:cNvSpPr txBox="1"/>
            <p:nvPr/>
          </p:nvSpPr>
          <p:spPr>
            <a:xfrm>
              <a:off x="3419712" y="253193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20</a:t>
              </a:r>
            </a:p>
          </p:txBody>
        </p:sp>
        <p:sp>
          <p:nvSpPr>
            <p:cNvPr id="172" name="CuadroTexto 171">
              <a:extLst>
                <a:ext uri="{FF2B5EF4-FFF2-40B4-BE49-F238E27FC236}">
                  <a16:creationId xmlns="" xmlns:a16="http://schemas.microsoft.com/office/drawing/2014/main" id="{39B5CE73-37A5-8840-9122-D2A0F039E712}"/>
                </a:ext>
              </a:extLst>
            </p:cNvPr>
            <p:cNvSpPr txBox="1"/>
            <p:nvPr/>
          </p:nvSpPr>
          <p:spPr>
            <a:xfrm>
              <a:off x="3435605" y="284508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75" name="Grupo 174"/>
          <p:cNvGrpSpPr/>
          <p:nvPr/>
        </p:nvGrpSpPr>
        <p:grpSpPr>
          <a:xfrm>
            <a:off x="6903910" y="1985388"/>
            <a:ext cx="1354365" cy="3100450"/>
            <a:chOff x="5099666" y="1936142"/>
            <a:chExt cx="1354365" cy="3100450"/>
          </a:xfrm>
        </p:grpSpPr>
        <p:sp>
          <p:nvSpPr>
            <p:cNvPr id="176" name="CuadroTexto 175">
              <a:extLst>
                <a:ext uri="{FF2B5EF4-FFF2-40B4-BE49-F238E27FC236}">
                  <a16:creationId xmlns="" xmlns:a16="http://schemas.microsoft.com/office/drawing/2014/main" id="{27B391EA-D951-F748-ACFE-8288BA11372E}"/>
                </a:ext>
              </a:extLst>
            </p:cNvPr>
            <p:cNvSpPr txBox="1"/>
            <p:nvPr/>
          </p:nvSpPr>
          <p:spPr>
            <a:xfrm>
              <a:off x="5099666" y="4544149"/>
              <a:ext cx="1354365" cy="492443"/>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prueba texto de la política nacional de seguridad y salud en el trabajo para el período 2024-2028</a:t>
              </a:r>
              <a:r>
                <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cs typeface="Arial"/>
                </a:rPr>
                <a:t>.</a:t>
              </a:r>
            </a:p>
          </p:txBody>
        </p:sp>
        <p:sp>
          <p:nvSpPr>
            <p:cNvPr id="177" name="CuadroTexto 176">
              <a:extLst>
                <a:ext uri="{FF2B5EF4-FFF2-40B4-BE49-F238E27FC236}">
                  <a16:creationId xmlns="" xmlns:a16="http://schemas.microsoft.com/office/drawing/2014/main" id="{37F67143-AE06-5340-9562-1D904499AB4F}"/>
                </a:ext>
              </a:extLst>
            </p:cNvPr>
            <p:cNvSpPr txBox="1"/>
            <p:nvPr/>
          </p:nvSpPr>
          <p:spPr>
            <a:xfrm>
              <a:off x="5228996" y="4055265"/>
              <a:ext cx="1017263"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19 ENE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grpSp>
          <p:nvGrpSpPr>
            <p:cNvPr id="178" name="Grupo 177"/>
            <p:cNvGrpSpPr/>
            <p:nvPr/>
          </p:nvGrpSpPr>
          <p:grpSpPr>
            <a:xfrm>
              <a:off x="5281926" y="2985880"/>
              <a:ext cx="900000" cy="900000"/>
              <a:chOff x="5766724" y="2453514"/>
              <a:chExt cx="900000" cy="900000"/>
            </a:xfrm>
          </p:grpSpPr>
          <p:sp>
            <p:nvSpPr>
              <p:cNvPr id="181" name="Elipse 180">
                <a:extLst>
                  <a:ext uri="{FF2B5EF4-FFF2-40B4-BE49-F238E27FC236}">
                    <a16:creationId xmlns="" xmlns:a16="http://schemas.microsoft.com/office/drawing/2014/main" id="{D5F8041F-EE7D-5F45-99BE-9D9247A3A74E}"/>
                  </a:ext>
                </a:extLst>
              </p:cNvPr>
              <p:cNvSpPr/>
              <p:nvPr/>
            </p:nvSpPr>
            <p:spPr>
              <a:xfrm>
                <a:off x="5766724" y="2453514"/>
                <a:ext cx="900000" cy="900000"/>
              </a:xfrm>
              <a:prstGeom prst="ellipse">
                <a:avLst/>
              </a:prstGeom>
              <a:solidFill>
                <a:srgbClr val="006600">
                  <a:alpha val="70000"/>
                </a:srgbClr>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82" name="Imagen 181">
                <a:extLst>
                  <a:ext uri="{FF2B5EF4-FFF2-40B4-BE49-F238E27FC236}">
                    <a16:creationId xmlns="" xmlns:a16="http://schemas.microsoft.com/office/drawing/2014/main" id="{6F642EBB-D75F-E444-A48A-11D18B1ABE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50390" y="2589041"/>
                <a:ext cx="639965" cy="612000"/>
              </a:xfrm>
              <a:prstGeom prst="rect">
                <a:avLst/>
              </a:prstGeom>
            </p:spPr>
          </p:pic>
        </p:grpSp>
        <p:sp>
          <p:nvSpPr>
            <p:cNvPr id="179" name="Rectángulo 178"/>
            <p:cNvSpPr/>
            <p:nvPr/>
          </p:nvSpPr>
          <p:spPr>
            <a:xfrm>
              <a:off x="5228996" y="2402843"/>
              <a:ext cx="998768"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sp>
          <p:nvSpPr>
            <p:cNvPr id="180" name="CuadroTexto 179">
              <a:extLst>
                <a:ext uri="{FF2B5EF4-FFF2-40B4-BE49-F238E27FC236}">
                  <a16:creationId xmlns="" xmlns:a16="http://schemas.microsoft.com/office/drawing/2014/main" id="{89F41D42-C744-BE49-9528-D7D63A5D66CB}"/>
                </a:ext>
              </a:extLst>
            </p:cNvPr>
            <p:cNvSpPr txBox="1"/>
            <p:nvPr/>
          </p:nvSpPr>
          <p:spPr>
            <a:xfrm>
              <a:off x="5186448" y="1936142"/>
              <a:ext cx="1083863"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DECRE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2</a:t>
              </a:r>
            </a:p>
          </p:txBody>
        </p:sp>
      </p:grpSp>
      <p:grpSp>
        <p:nvGrpSpPr>
          <p:cNvPr id="183" name="Grupo 182"/>
          <p:cNvGrpSpPr/>
          <p:nvPr/>
        </p:nvGrpSpPr>
        <p:grpSpPr>
          <a:xfrm>
            <a:off x="5133553" y="990533"/>
            <a:ext cx="1432562" cy="2927874"/>
            <a:chOff x="1778717" y="1693220"/>
            <a:chExt cx="1432562" cy="2927874"/>
          </a:xfrm>
        </p:grpSpPr>
        <p:sp>
          <p:nvSpPr>
            <p:cNvPr id="184" name="CuadroTexto 183">
              <a:extLst>
                <a:ext uri="{FF2B5EF4-FFF2-40B4-BE49-F238E27FC236}">
                  <a16:creationId xmlns="" xmlns:a16="http://schemas.microsoft.com/office/drawing/2014/main" id="{82946D71-6A9D-DC4B-9404-252B4735A48D}"/>
                </a:ext>
              </a:extLst>
            </p:cNvPr>
            <p:cNvSpPr txBox="1"/>
            <p:nvPr/>
          </p:nvSpPr>
          <p:spPr>
            <a:xfrm>
              <a:off x="1962307" y="4197901"/>
              <a:ext cx="1046448" cy="423193"/>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Promulga el convenio 190 sobre la violencia y el acoso de la OI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85" name="CuadroTexto 184">
              <a:extLst>
                <a:ext uri="{FF2B5EF4-FFF2-40B4-BE49-F238E27FC236}">
                  <a16:creationId xmlns="" xmlns:a16="http://schemas.microsoft.com/office/drawing/2014/main" id="{9576C957-0D07-CE41-A47E-794D5B63FE0D}"/>
                </a:ext>
              </a:extLst>
            </p:cNvPr>
            <p:cNvSpPr txBox="1"/>
            <p:nvPr/>
          </p:nvSpPr>
          <p:spPr>
            <a:xfrm>
              <a:off x="1911854" y="1693220"/>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22</a:t>
              </a:r>
            </a:p>
          </p:txBody>
        </p:sp>
        <p:sp>
          <p:nvSpPr>
            <p:cNvPr id="186" name="CuadroTexto 185">
              <a:extLst>
                <a:ext uri="{FF2B5EF4-FFF2-40B4-BE49-F238E27FC236}">
                  <a16:creationId xmlns="" xmlns:a16="http://schemas.microsoft.com/office/drawing/2014/main" id="{16D57534-5369-AD41-B87F-257A0068BB24}"/>
                </a:ext>
              </a:extLst>
            </p:cNvPr>
            <p:cNvSpPr txBox="1"/>
            <p:nvPr/>
          </p:nvSpPr>
          <p:spPr>
            <a:xfrm>
              <a:off x="1778717" y="3761135"/>
              <a:ext cx="1432562"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4 JUL 202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romulga</a:t>
              </a:r>
            </a:p>
          </p:txBody>
        </p:sp>
        <p:sp>
          <p:nvSpPr>
            <p:cNvPr id="187" name="CuadroTexto 186">
              <a:extLst>
                <a:ext uri="{FF2B5EF4-FFF2-40B4-BE49-F238E27FC236}">
                  <a16:creationId xmlns="" xmlns:a16="http://schemas.microsoft.com/office/drawing/2014/main" id="{833CD9B3-018F-704F-81AB-77E138C1F58D}"/>
                </a:ext>
              </a:extLst>
            </p:cNvPr>
            <p:cNvSpPr txBox="1"/>
            <p:nvPr/>
          </p:nvSpPr>
          <p:spPr>
            <a:xfrm>
              <a:off x="1846095" y="2322881"/>
              <a:ext cx="1195130"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Ministerio de Relaciones Exteriores</a:t>
              </a:r>
            </a:p>
          </p:txBody>
        </p:sp>
        <p:grpSp>
          <p:nvGrpSpPr>
            <p:cNvPr id="188" name="Grupo 187"/>
            <p:cNvGrpSpPr/>
            <p:nvPr/>
          </p:nvGrpSpPr>
          <p:grpSpPr>
            <a:xfrm>
              <a:off x="2002029" y="2751041"/>
              <a:ext cx="900000" cy="900000"/>
              <a:chOff x="2142656" y="2447443"/>
              <a:chExt cx="900000" cy="900000"/>
            </a:xfrm>
          </p:grpSpPr>
          <p:sp>
            <p:nvSpPr>
              <p:cNvPr id="189" name="Elipse 188">
                <a:extLst>
                  <a:ext uri="{FF2B5EF4-FFF2-40B4-BE49-F238E27FC236}">
                    <a16:creationId xmlns="" xmlns:a16="http://schemas.microsoft.com/office/drawing/2014/main" id="{D8B1806A-1827-5147-B0F6-A266DFAE2981}"/>
                  </a:ext>
                </a:extLst>
              </p:cNvPr>
              <p:cNvSpPr/>
              <p:nvPr/>
            </p:nvSpPr>
            <p:spPr>
              <a:xfrm>
                <a:off x="2142656" y="2447443"/>
                <a:ext cx="900000" cy="900000"/>
              </a:xfrm>
              <a:prstGeom prst="ellipse">
                <a:avLst/>
              </a:prstGeom>
              <a:solidFill>
                <a:srgbClr val="004B54"/>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90" name="Imagen 189">
                <a:extLst>
                  <a:ext uri="{FF2B5EF4-FFF2-40B4-BE49-F238E27FC236}">
                    <a16:creationId xmlns="" xmlns:a16="http://schemas.microsoft.com/office/drawing/2014/main" id="{6D034A46-1CF1-4F49-92E0-988D1C29345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271500" y="2612257"/>
                <a:ext cx="639965" cy="612000"/>
              </a:xfrm>
              <a:prstGeom prst="rect">
                <a:avLst/>
              </a:prstGeom>
            </p:spPr>
          </p:pic>
        </p:grpSp>
      </p:grpSp>
      <p:grpSp>
        <p:nvGrpSpPr>
          <p:cNvPr id="191" name="Grupo 190"/>
          <p:cNvGrpSpPr/>
          <p:nvPr/>
        </p:nvGrpSpPr>
        <p:grpSpPr>
          <a:xfrm>
            <a:off x="9974057" y="2042584"/>
            <a:ext cx="1573082" cy="3356570"/>
            <a:chOff x="9912446" y="2406074"/>
            <a:chExt cx="1573082" cy="3356570"/>
          </a:xfrm>
        </p:grpSpPr>
        <p:sp>
          <p:nvSpPr>
            <p:cNvPr id="192" name="Elipse 191">
              <a:extLst>
                <a:ext uri="{FF2B5EF4-FFF2-40B4-BE49-F238E27FC236}">
                  <a16:creationId xmlns="" xmlns:a16="http://schemas.microsoft.com/office/drawing/2014/main" id="{ED9756F2-B45F-994E-A9F5-6C06DCD6AAD0}"/>
                </a:ext>
              </a:extLst>
            </p:cNvPr>
            <p:cNvSpPr/>
            <p:nvPr/>
          </p:nvSpPr>
          <p:spPr>
            <a:xfrm>
              <a:off x="10179394" y="3362908"/>
              <a:ext cx="900000" cy="900000"/>
            </a:xfrm>
            <a:prstGeom prst="ellipse">
              <a:avLst/>
            </a:prstGeom>
            <a:solidFill>
              <a:srgbClr val="13C045"/>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193" name="Imagen 192">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45211" y="3484567"/>
              <a:ext cx="639965" cy="612000"/>
            </a:xfrm>
            <a:prstGeom prst="rect">
              <a:avLst/>
            </a:prstGeom>
          </p:spPr>
        </p:pic>
        <p:sp>
          <p:nvSpPr>
            <p:cNvPr id="194" name="CuadroTexto 193">
              <a:extLst>
                <a:ext uri="{FF2B5EF4-FFF2-40B4-BE49-F238E27FC236}">
                  <a16:creationId xmlns="" xmlns:a16="http://schemas.microsoft.com/office/drawing/2014/main" id="{ED69FF08-B077-D24F-8BEC-2BCE5AA9C143}"/>
                </a:ext>
              </a:extLst>
            </p:cNvPr>
            <p:cNvSpPr txBox="1"/>
            <p:nvPr/>
          </p:nvSpPr>
          <p:spPr>
            <a:xfrm>
              <a:off x="9956578" y="4916258"/>
              <a:ext cx="1516994" cy="846386"/>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prueba nuevo reglamento sobre gestión preventiva de los riesgos laborales para un entorno de trabajo seguro y saludable. </a:t>
              </a:r>
              <a:r>
                <a:rPr kumimoji="0" lang="es-MX" sz="800" b="1" i="0" u="none" strike="noStrike" kern="0" cap="none" spc="0" normalizeH="0" baseline="0" noProof="0" dirty="0">
                  <a:ln>
                    <a:noFill/>
                  </a:ln>
                  <a:solidFill>
                    <a:srgbClr val="000000">
                      <a:lumMod val="65000"/>
                      <a:lumOff val="35000"/>
                    </a:srgbClr>
                  </a:solidFill>
                  <a:effectLst/>
                  <a:uLnTx/>
                  <a:uFillTx/>
                  <a:latin typeface="ACHS Nueva Sans" pitchFamily="2" charset="0"/>
                </a:rPr>
                <a:t>Entra en vigencia el 1 de febrero 2025</a:t>
              </a: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195" name="CuadroTexto 194">
              <a:extLst>
                <a:ext uri="{FF2B5EF4-FFF2-40B4-BE49-F238E27FC236}">
                  <a16:creationId xmlns="" xmlns:a16="http://schemas.microsoft.com/office/drawing/2014/main" id="{15C1C9DA-93AC-7A4F-A941-21B69ED42B31}"/>
                </a:ext>
              </a:extLst>
            </p:cNvPr>
            <p:cNvSpPr txBox="1"/>
            <p:nvPr/>
          </p:nvSpPr>
          <p:spPr>
            <a:xfrm>
              <a:off x="9912446" y="4451817"/>
              <a:ext cx="1561126" cy="33855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27 JULIO 202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006600"/>
                  </a:solidFill>
                  <a:effectLst/>
                  <a:uLnTx/>
                  <a:uFillTx/>
                  <a:latin typeface="ACHS Nueva Sans" pitchFamily="2" charset="0"/>
                  <a:cs typeface="Arial"/>
                </a:rPr>
                <a:t>Se publica</a:t>
              </a:r>
            </a:p>
          </p:txBody>
        </p:sp>
        <p:sp>
          <p:nvSpPr>
            <p:cNvPr id="196" name="CuadroTexto 195">
              <a:extLst>
                <a:ext uri="{FF2B5EF4-FFF2-40B4-BE49-F238E27FC236}">
                  <a16:creationId xmlns="" xmlns:a16="http://schemas.microsoft.com/office/drawing/2014/main" id="{5E5789DE-E725-C44B-9B72-178A331C4F71}"/>
                </a:ext>
              </a:extLst>
            </p:cNvPr>
            <p:cNvSpPr txBox="1"/>
            <p:nvPr/>
          </p:nvSpPr>
          <p:spPr>
            <a:xfrm>
              <a:off x="10100008" y="2406074"/>
              <a:ext cx="1129371" cy="18466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DECRETO</a:t>
              </a:r>
              <a:r>
                <a:rPr kumimoji="0" lang="es-ES" sz="1200" b="1" i="0" u="none" strike="noStrike" kern="0" cap="none" spc="0" normalizeH="0" baseline="0" noProof="0" dirty="0">
                  <a:ln>
                    <a:noFill/>
                  </a:ln>
                  <a:solidFill>
                    <a:srgbClr val="004B54"/>
                  </a:solidFill>
                  <a:effectLst/>
                  <a:uLnTx/>
                  <a:uFillTx/>
                  <a:latin typeface="ACHS Nueva Sans" pitchFamily="2" charset="0"/>
                  <a:cs typeface="Arial"/>
                </a:rPr>
                <a:t> </a:t>
              </a:r>
            </a:p>
          </p:txBody>
        </p:sp>
        <p:sp>
          <p:nvSpPr>
            <p:cNvPr id="197" name="CuadroTexto 196">
              <a:extLst>
                <a:ext uri="{FF2B5EF4-FFF2-40B4-BE49-F238E27FC236}">
                  <a16:creationId xmlns="" xmlns:a16="http://schemas.microsoft.com/office/drawing/2014/main" id="{524EE735-2000-E04E-9879-BD1FFC79E2D9}"/>
                </a:ext>
              </a:extLst>
            </p:cNvPr>
            <p:cNvSpPr txBox="1"/>
            <p:nvPr/>
          </p:nvSpPr>
          <p:spPr>
            <a:xfrm>
              <a:off x="9912446" y="2620487"/>
              <a:ext cx="1504496"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83B827"/>
                  </a:solidFill>
                  <a:effectLst/>
                  <a:uLnTx/>
                  <a:uFillTx/>
                  <a:latin typeface="ACHS Nueva Sans" pitchFamily="2" charset="0"/>
                  <a:cs typeface="Arial"/>
                </a:rPr>
                <a:t>44</a:t>
              </a:r>
            </a:p>
          </p:txBody>
        </p:sp>
        <p:sp>
          <p:nvSpPr>
            <p:cNvPr id="198" name="CuadroTexto 197">
              <a:extLst>
                <a:ext uri="{FF2B5EF4-FFF2-40B4-BE49-F238E27FC236}">
                  <a16:creationId xmlns="" xmlns:a16="http://schemas.microsoft.com/office/drawing/2014/main" id="{39B5CE73-37A5-8840-9122-D2A0F039E712}"/>
                </a:ext>
              </a:extLst>
            </p:cNvPr>
            <p:cNvSpPr txBox="1"/>
            <p:nvPr/>
          </p:nvSpPr>
          <p:spPr>
            <a:xfrm>
              <a:off x="9928339" y="2933637"/>
              <a:ext cx="1557189" cy="24622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800" b="1" i="0" u="none" strike="noStrike" kern="0" cap="none" spc="0" normalizeH="0" baseline="0" noProof="0" dirty="0">
                  <a:ln>
                    <a:noFill/>
                  </a:ln>
                  <a:solidFill>
                    <a:srgbClr val="004B54"/>
                  </a:solidFill>
                  <a:effectLst/>
                  <a:uLnTx/>
                  <a:uFillTx/>
                  <a:latin typeface="ACHS Nueva Sans" pitchFamily="2" charset="0"/>
                  <a:cs typeface="Arial"/>
                </a:rPr>
                <a:t>Ministerio del Trabajo y Previsión Social</a:t>
              </a:r>
            </a:p>
          </p:txBody>
        </p:sp>
      </p:grpSp>
      <p:grpSp>
        <p:nvGrpSpPr>
          <p:cNvPr id="199" name="Grupo 198"/>
          <p:cNvGrpSpPr/>
          <p:nvPr/>
        </p:nvGrpSpPr>
        <p:grpSpPr>
          <a:xfrm>
            <a:off x="8440874" y="1030738"/>
            <a:ext cx="1225304" cy="3237897"/>
            <a:chOff x="6705181" y="2145622"/>
            <a:chExt cx="1225304" cy="3237897"/>
          </a:xfrm>
        </p:grpSpPr>
        <p:sp>
          <p:nvSpPr>
            <p:cNvPr id="200" name="CuadroTexto 199">
              <a:extLst>
                <a:ext uri="{FF2B5EF4-FFF2-40B4-BE49-F238E27FC236}">
                  <a16:creationId xmlns="" xmlns:a16="http://schemas.microsoft.com/office/drawing/2014/main" id="{ED69FF08-B077-D24F-8BEC-2BCE5AA9C143}"/>
                </a:ext>
              </a:extLst>
            </p:cNvPr>
            <p:cNvSpPr txBox="1"/>
            <p:nvPr/>
          </p:nvSpPr>
          <p:spPr>
            <a:xfrm>
              <a:off x="6718759" y="4819262"/>
              <a:ext cx="1211726" cy="564257"/>
            </a:xfrm>
            <a:prstGeom prst="rect">
              <a:avLst/>
            </a:prstGeom>
            <a:noFill/>
          </p:spPr>
          <p:txBody>
            <a:bodyPr wrap="square" lIns="0" tIns="0" rIns="0" bIns="0" rtlCol="0" anchor="t">
              <a:spAutoFit/>
            </a:bodyPr>
            <a:lstStyle>
              <a:defPPr>
                <a:defRPr lang="es-CL"/>
              </a:defPPr>
              <a:lvl1pPr algn="ctr">
                <a:lnSpc>
                  <a:spcPts val="1100"/>
                </a:lnSpc>
                <a:defRPr sz="800">
                  <a:solidFill>
                    <a:schemeClr val="tx1">
                      <a:lumMod val="65000"/>
                      <a:lumOff val="35000"/>
                    </a:schemeClr>
                  </a:solidFill>
                  <a:latin typeface="Arial"/>
                  <a:cs typeface="Arial"/>
                </a:defRPr>
              </a:lvl1p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Convenio de</a:t>
              </a:r>
            </a:p>
            <a:p>
              <a:pPr marL="0" marR="0" lvl="0" indent="0" algn="ctr" defTabSz="914400" eaLnBrk="1" fontAlgn="auto" latinLnBrk="0" hangingPunct="1">
                <a:lnSpc>
                  <a:spcPts val="1100"/>
                </a:lnSpc>
                <a:spcBef>
                  <a:spcPts val="0"/>
                </a:spcBef>
                <a:spcAft>
                  <a:spcPts val="0"/>
                </a:spcAft>
                <a:buClrTx/>
                <a:buSzTx/>
                <a:buFontTx/>
                <a:buNone/>
                <a:tabLst/>
                <a:defRPr/>
              </a:pPr>
              <a:r>
                <a:rPr kumimoji="0" lang="es-MX" sz="800" b="0" i="0" u="none" strike="noStrike" kern="0" cap="none" spc="0" normalizeH="0" baseline="0" noProof="0" dirty="0">
                  <a:ln>
                    <a:noFill/>
                  </a:ln>
                  <a:solidFill>
                    <a:srgbClr val="000000">
                      <a:lumMod val="65000"/>
                      <a:lumOff val="35000"/>
                    </a:srgbClr>
                  </a:solidFill>
                  <a:effectLst/>
                  <a:uLnTx/>
                  <a:uFillTx/>
                  <a:latin typeface="ACHS Nueva Sans" pitchFamily="2" charset="0"/>
                </a:rPr>
                <a:t>la OIT N° 155 sobre seguridad y salud de los trabajadores</a:t>
              </a:r>
              <a:endParaRPr kumimoji="0" lang="es-ES" sz="800" b="0" i="0" u="none" strike="noStrike" kern="0" cap="none" spc="0" normalizeH="0" baseline="0" noProof="0" dirty="0">
                <a:ln>
                  <a:noFill/>
                </a:ln>
                <a:solidFill>
                  <a:srgbClr val="000000">
                    <a:lumMod val="65000"/>
                    <a:lumOff val="35000"/>
                  </a:srgbClr>
                </a:solidFill>
                <a:effectLst/>
                <a:uLnTx/>
                <a:uFillTx/>
                <a:latin typeface="ACHS Nueva Sans" pitchFamily="2" charset="0"/>
              </a:endParaRPr>
            </a:p>
          </p:txBody>
        </p:sp>
        <p:sp>
          <p:nvSpPr>
            <p:cNvPr id="201" name="CuadroTexto 200">
              <a:extLst>
                <a:ext uri="{FF2B5EF4-FFF2-40B4-BE49-F238E27FC236}">
                  <a16:creationId xmlns="" xmlns:a16="http://schemas.microsoft.com/office/drawing/2014/main" id="{3389A507-37D0-E847-80DE-B0EB75072B1F}"/>
                </a:ext>
              </a:extLst>
            </p:cNvPr>
            <p:cNvSpPr txBox="1"/>
            <p:nvPr/>
          </p:nvSpPr>
          <p:spPr>
            <a:xfrm>
              <a:off x="6738061" y="2145622"/>
              <a:ext cx="1129371" cy="461665"/>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rgbClr val="004C14"/>
                  </a:solidFill>
                  <a:effectLst/>
                  <a:uLnTx/>
                  <a:uFillTx/>
                  <a:latin typeface="ACHS Nueva Sans" pitchFamily="2" charset="0"/>
                  <a:cs typeface="Arial"/>
                </a:rPr>
                <a:t>CONVENI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dirty="0">
                  <a:ln>
                    <a:noFill/>
                  </a:ln>
                  <a:solidFill>
                    <a:srgbClr val="83B827"/>
                  </a:solidFill>
                  <a:effectLst/>
                  <a:uLnTx/>
                  <a:uFillTx/>
                  <a:latin typeface="ACHS Nueva Sans" pitchFamily="2" charset="0"/>
                  <a:cs typeface="Arial"/>
                </a:rPr>
                <a:t>155</a:t>
              </a:r>
            </a:p>
          </p:txBody>
        </p:sp>
        <p:grpSp>
          <p:nvGrpSpPr>
            <p:cNvPr id="202" name="Grupo 201"/>
            <p:cNvGrpSpPr/>
            <p:nvPr/>
          </p:nvGrpSpPr>
          <p:grpSpPr>
            <a:xfrm>
              <a:off x="6826392" y="3164189"/>
              <a:ext cx="900000" cy="900000"/>
              <a:chOff x="3883879" y="3181059"/>
              <a:chExt cx="900000" cy="900000"/>
            </a:xfrm>
          </p:grpSpPr>
          <p:sp>
            <p:nvSpPr>
              <p:cNvPr id="205" name="Elipse 204">
                <a:extLst>
                  <a:ext uri="{FF2B5EF4-FFF2-40B4-BE49-F238E27FC236}">
                    <a16:creationId xmlns="" xmlns:a16="http://schemas.microsoft.com/office/drawing/2014/main" id="{ED9756F2-B45F-994E-A9F5-6C06DCD6AAD0}"/>
                  </a:ext>
                </a:extLst>
              </p:cNvPr>
              <p:cNvSpPr/>
              <p:nvPr/>
            </p:nvSpPr>
            <p:spPr>
              <a:xfrm>
                <a:off x="3883879" y="3181059"/>
                <a:ext cx="900000" cy="900000"/>
              </a:xfrm>
              <a:prstGeom prst="ellipse">
                <a:avLst/>
              </a:prstGeom>
              <a:solidFill>
                <a:srgbClr val="006600"/>
              </a:solidFill>
              <a:ln w="539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L" sz="1100" b="0" i="0" u="none" strike="noStrike" kern="0" cap="none" spc="0" normalizeH="0" baseline="0" noProof="0" dirty="0">
                  <a:ln>
                    <a:noFill/>
                  </a:ln>
                  <a:solidFill>
                    <a:prstClr val="white"/>
                  </a:solidFill>
                  <a:effectLst/>
                  <a:uLnTx/>
                  <a:uFillTx/>
                  <a:latin typeface="ACHS Nueva Sans" pitchFamily="2" charset="0"/>
                </a:endParaRPr>
              </a:p>
            </p:txBody>
          </p:sp>
          <p:pic>
            <p:nvPicPr>
              <p:cNvPr id="206" name="Imagen 205">
                <a:extLst>
                  <a:ext uri="{FF2B5EF4-FFF2-40B4-BE49-F238E27FC236}">
                    <a16:creationId xmlns="" xmlns:a16="http://schemas.microsoft.com/office/drawing/2014/main" id="{40B5B94E-74AD-CF40-B1DB-5442AEF7BE5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6502" y="3290350"/>
                <a:ext cx="639965" cy="612000"/>
              </a:xfrm>
              <a:prstGeom prst="rect">
                <a:avLst/>
              </a:prstGeom>
            </p:spPr>
          </p:pic>
        </p:grpSp>
        <p:sp>
          <p:nvSpPr>
            <p:cNvPr id="203" name="CuadroTexto 202">
              <a:extLst>
                <a:ext uri="{FF2B5EF4-FFF2-40B4-BE49-F238E27FC236}">
                  <a16:creationId xmlns="" xmlns:a16="http://schemas.microsoft.com/office/drawing/2014/main" id="{833CD9B3-018F-704F-81AB-77E138C1F58D}"/>
                </a:ext>
              </a:extLst>
            </p:cNvPr>
            <p:cNvSpPr txBox="1"/>
            <p:nvPr/>
          </p:nvSpPr>
          <p:spPr>
            <a:xfrm>
              <a:off x="6705181" y="2706512"/>
              <a:ext cx="1195130" cy="369332"/>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800" b="1" i="0" u="none" strike="noStrike" kern="0" cap="none" spc="0" normalizeH="0" baseline="0" noProof="0" dirty="0">
                  <a:ln>
                    <a:noFill/>
                  </a:ln>
                  <a:solidFill>
                    <a:srgbClr val="004B54"/>
                  </a:solidFill>
                  <a:effectLst/>
                  <a:uLnTx/>
                  <a:uFillTx/>
                  <a:latin typeface="ACHS Nueva Sans" pitchFamily="2" charset="0"/>
                  <a:cs typeface="Arial"/>
                </a:rPr>
                <a:t>Organización Internacional del Trabajo (OIT)</a:t>
              </a:r>
            </a:p>
          </p:txBody>
        </p:sp>
        <p:sp>
          <p:nvSpPr>
            <p:cNvPr id="204" name="CuadroTexto 203">
              <a:extLst>
                <a:ext uri="{FF2B5EF4-FFF2-40B4-BE49-F238E27FC236}">
                  <a16:creationId xmlns="" xmlns:a16="http://schemas.microsoft.com/office/drawing/2014/main" id="{15C1C9DA-93AC-7A4F-A941-21B69ED42B31}"/>
                </a:ext>
              </a:extLst>
            </p:cNvPr>
            <p:cNvSpPr txBox="1"/>
            <p:nvPr/>
          </p:nvSpPr>
          <p:spPr>
            <a:xfrm>
              <a:off x="6848235" y="4197435"/>
              <a:ext cx="909022"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83B827"/>
                  </a:solidFill>
                  <a:effectLst/>
                  <a:uLnTx/>
                  <a:uFillTx/>
                  <a:latin typeface="ACHS Nueva Sans" pitchFamily="2" charset="0"/>
                  <a:cs typeface="Arial"/>
                </a:rPr>
                <a:t>*Objetivo del decreto 2 pendiente</a:t>
              </a:r>
              <a:endParaRPr kumimoji="0" lang="es-ES" sz="1100" b="1" i="0" u="none" strike="noStrike" kern="0" cap="none" spc="0" normalizeH="0" baseline="0" noProof="0" dirty="0">
                <a:ln>
                  <a:noFill/>
                </a:ln>
                <a:solidFill>
                  <a:srgbClr val="006600"/>
                </a:solidFill>
                <a:effectLst/>
                <a:uLnTx/>
                <a:uFillTx/>
                <a:latin typeface="ACHS Nueva Sans" pitchFamily="2" charset="0"/>
                <a:cs typeface="Arial"/>
              </a:endParaRPr>
            </a:p>
          </p:txBody>
        </p:sp>
      </p:grpSp>
    </p:spTree>
    <p:custDataLst>
      <p:tags r:id="rId2"/>
    </p:custDataLst>
    <p:extLst>
      <p:ext uri="{BB962C8B-B14F-4D97-AF65-F5344CB8AC3E}">
        <p14:creationId xmlns:p14="http://schemas.microsoft.com/office/powerpoint/2010/main" val="1745936645"/>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3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BE78E2-E8C0-44A7-A0E9-552E7F6DD249}"/>
</file>

<file path=customXml/itemProps2.xml><?xml version="1.0" encoding="utf-8"?>
<ds:datastoreItem xmlns:ds="http://schemas.openxmlformats.org/officeDocument/2006/customXml" ds:itemID="{8C738E1D-D069-448B-8C63-5E401FF285BC}"/>
</file>

<file path=customXml/itemProps3.xml><?xml version="1.0" encoding="utf-8"?>
<ds:datastoreItem xmlns:ds="http://schemas.openxmlformats.org/officeDocument/2006/customXml" ds:itemID="{B7BC5B0C-8580-492E-9DF1-4C0FCBEBA7CD}"/>
</file>

<file path=docProps/app.xml><?xml version="1.0" encoding="utf-8"?>
<Properties xmlns="http://schemas.openxmlformats.org/officeDocument/2006/extended-properties" xmlns:vt="http://schemas.openxmlformats.org/officeDocument/2006/docPropsVTypes">
  <TotalTime>1628</TotalTime>
  <Words>3978</Words>
  <Application>Microsoft Office PowerPoint</Application>
  <PresentationFormat>Panorámica</PresentationFormat>
  <Paragraphs>618</Paragraphs>
  <Slides>31</Slides>
  <Notes>26</Notes>
  <HiddenSlides>0</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31</vt:i4>
      </vt:variant>
    </vt:vector>
  </HeadingPairs>
  <TitlesOfParts>
    <vt:vector size="44" baseType="lpstr">
      <vt:lpstr>ACHS Nueva Sans</vt:lpstr>
      <vt:lpstr>ACHS Nueva Sans Medium</vt:lpstr>
      <vt:lpstr>ACHS Nueva Serif</vt:lpstr>
      <vt:lpstr>ACHS Nueva Serif SemiBold</vt:lpstr>
      <vt:lpstr>Aptos</vt:lpstr>
      <vt:lpstr>Arial</vt:lpstr>
      <vt:lpstr>Calibri</vt:lpstr>
      <vt:lpstr>Helvetica</vt:lpstr>
      <vt:lpstr>Helvetica Neue</vt:lpstr>
      <vt:lpstr>Linux Libertine</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EDDIE</cp:lastModifiedBy>
  <cp:revision>260</cp:revision>
  <dcterms:created xsi:type="dcterms:W3CDTF">2023-08-03T14:13:33Z</dcterms:created>
  <dcterms:modified xsi:type="dcterms:W3CDTF">2024-09-02T15:2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6A003D9-DD7C-4FE9-B3B7-4F5A5AC71700</vt:lpwstr>
  </property>
  <property fmtid="{D5CDD505-2E9C-101B-9397-08002B2CF9AE}" pid="3" name="ArticulatePath">
    <vt:lpwstr>657672_Uso_de_ExtintoresRB2023</vt:lpwstr>
  </property>
  <property fmtid="{D5CDD505-2E9C-101B-9397-08002B2CF9AE}" pid="4" name="ContentTypeId">
    <vt:lpwstr>0x0101007C36543F3D857D488921B9E8F0F0A212</vt:lpwstr>
  </property>
  <property fmtid="{D5CDD505-2E9C-101B-9397-08002B2CF9AE}" pid="5" name="Order">
    <vt:r8>544500</vt:r8>
  </property>
</Properties>
</file>